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theme/theme4.xml" ContentType="application/vnd.openxmlformats-officedocument.them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1" r:id="rId5"/>
    <p:sldMasterId id="2147484234" r:id="rId6"/>
    <p:sldMasterId id="2147484258" r:id="rId7"/>
  </p:sldMasterIdLst>
  <p:notesMasterIdLst>
    <p:notesMasterId r:id="rId17"/>
  </p:notesMasterIdLst>
  <p:sldIdLst>
    <p:sldId id="258" r:id="rId8"/>
    <p:sldId id="267" r:id="rId9"/>
    <p:sldId id="2147483079" r:id="rId10"/>
    <p:sldId id="2147483080" r:id="rId11"/>
    <p:sldId id="2147483081" r:id="rId12"/>
    <p:sldId id="2147483078" r:id="rId13"/>
    <p:sldId id="2147482261" r:id="rId14"/>
    <p:sldId id="2147483076" r:id="rId15"/>
    <p:sldId id="26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359947-1CDA-AF90-B4CD-AC0B888DA844}" name="Greville, Ifan (D2C Investments Platform)" initials="GP" userId="S::ifangreville@lloydsbanking.com::0902751a-db4a-46b2-81e2-8b8bdd1f0892" providerId="AD"/>
  <p188:author id="{2731648E-9B6C-0B0D-1DEA-B9271F603934}" name="Hawkins, Rachel (Propositions &amp; Strategy)" initials="RH" userId="S::Rachel.Hawkins@lloydsbanking.com::5006c9b0-7e9e-4ed3-9a86-6b33472d5da7" providerId="AD"/>
  <p188:author id="{52C8CAD8-D061-5CB3-DFDA-5D88218C547D}" name="Short, Daniel (Propositions &amp; Strategy)" initials="SS" userId="S::daniel.short@lloydsbanking.com::df46080b-8a3e-47ec-b559-c731462e31c3" providerId="AD"/>
  <p188:author id="{0B0ECDDC-C1A0-B904-3999-EADCD25BFC45}" name="Murray, Kate" initials="KM" userId="S::Kate.Murray@scottishwidows.co.uk::b315398a-c234-4a37-a9e5-ff4cb328fb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C6"/>
    <a:srgbClr val="0E2841"/>
    <a:srgbClr val="006A4D"/>
    <a:srgbClr val="11B67A"/>
    <a:srgbClr val="D9F2D0"/>
    <a:srgbClr val="4EA72E"/>
    <a:srgbClr val="6CF479"/>
    <a:srgbClr val="F46C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404" autoAdjust="0"/>
  </p:normalViewPr>
  <p:slideViewPr>
    <p:cSldViewPr snapToGrid="0">
      <p:cViewPr varScale="1">
        <p:scale>
          <a:sx n="111" d="100"/>
          <a:sy n="111" d="100"/>
        </p:scale>
        <p:origin x="55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8/10/relationships/authors" Target="authors.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christ, Oliver (IP&amp;I Finance)" userId="b052c3d1-5afb-44ae-afc5-9f9e9aa0e07d" providerId="ADAL" clId="{66D4CB5D-D9BB-43AB-BE7E-2213DE7F5FD7}"/>
    <pc:docChg chg="delSld delMainMaster">
      <pc:chgData name="Gilchrist, Oliver (IP&amp;I Finance)" userId="b052c3d1-5afb-44ae-afc5-9f9e9aa0e07d" providerId="ADAL" clId="{66D4CB5D-D9BB-43AB-BE7E-2213DE7F5FD7}" dt="2025-12-05T14:39:25.130" v="0" actId="47"/>
      <pc:docMkLst>
        <pc:docMk/>
      </pc:docMkLst>
      <pc:sldChg chg="del">
        <pc:chgData name="Gilchrist, Oliver (IP&amp;I Finance)" userId="b052c3d1-5afb-44ae-afc5-9f9e9aa0e07d" providerId="ADAL" clId="{66D4CB5D-D9BB-43AB-BE7E-2213DE7F5FD7}" dt="2025-12-05T14:39:25.130" v="0" actId="47"/>
        <pc:sldMkLst>
          <pc:docMk/>
          <pc:sldMk cId="2823524351" sldId="259"/>
        </pc:sldMkLst>
      </pc:sldChg>
      <pc:sldChg chg="del">
        <pc:chgData name="Gilchrist, Oliver (IP&amp;I Finance)" userId="b052c3d1-5afb-44ae-afc5-9f9e9aa0e07d" providerId="ADAL" clId="{66D4CB5D-D9BB-43AB-BE7E-2213DE7F5FD7}" dt="2025-12-05T14:39:25.130" v="0" actId="47"/>
        <pc:sldMkLst>
          <pc:docMk/>
          <pc:sldMk cId="3026557225" sldId="260"/>
        </pc:sldMkLst>
      </pc:sldChg>
      <pc:sldChg chg="del">
        <pc:chgData name="Gilchrist, Oliver (IP&amp;I Finance)" userId="b052c3d1-5afb-44ae-afc5-9f9e9aa0e07d" providerId="ADAL" clId="{66D4CB5D-D9BB-43AB-BE7E-2213DE7F5FD7}" dt="2025-12-05T14:39:25.130" v="0" actId="47"/>
        <pc:sldMkLst>
          <pc:docMk/>
          <pc:sldMk cId="4292049871" sldId="261"/>
        </pc:sldMkLst>
      </pc:sldChg>
      <pc:sldChg chg="del">
        <pc:chgData name="Gilchrist, Oliver (IP&amp;I Finance)" userId="b052c3d1-5afb-44ae-afc5-9f9e9aa0e07d" providerId="ADAL" clId="{66D4CB5D-D9BB-43AB-BE7E-2213DE7F5FD7}" dt="2025-12-05T14:39:25.130" v="0" actId="47"/>
        <pc:sldMkLst>
          <pc:docMk/>
          <pc:sldMk cId="2532360336" sldId="265"/>
        </pc:sldMkLst>
      </pc:sldChg>
      <pc:sldChg chg="del">
        <pc:chgData name="Gilchrist, Oliver (IP&amp;I Finance)" userId="b052c3d1-5afb-44ae-afc5-9f9e9aa0e07d" providerId="ADAL" clId="{66D4CB5D-D9BB-43AB-BE7E-2213DE7F5FD7}" dt="2025-12-05T14:39:25.130" v="0" actId="47"/>
        <pc:sldMkLst>
          <pc:docMk/>
          <pc:sldMk cId="3734042982" sldId="2147483090"/>
        </pc:sldMkLst>
      </pc:sldChg>
      <pc:sldChg chg="del">
        <pc:chgData name="Gilchrist, Oliver (IP&amp;I Finance)" userId="b052c3d1-5afb-44ae-afc5-9f9e9aa0e07d" providerId="ADAL" clId="{66D4CB5D-D9BB-43AB-BE7E-2213DE7F5FD7}" dt="2025-12-05T14:39:25.130" v="0" actId="47"/>
        <pc:sldMkLst>
          <pc:docMk/>
          <pc:sldMk cId="1187897130" sldId="2147483091"/>
        </pc:sldMkLst>
      </pc:sldChg>
      <pc:sldMasterChg chg="del delSldLayout">
        <pc:chgData name="Gilchrist, Oliver (IP&amp;I Finance)" userId="b052c3d1-5afb-44ae-afc5-9f9e9aa0e07d" providerId="ADAL" clId="{66D4CB5D-D9BB-43AB-BE7E-2213DE7F5FD7}" dt="2025-12-05T14:39:25.130" v="0" actId="47"/>
        <pc:sldMasterMkLst>
          <pc:docMk/>
          <pc:sldMasterMk cId="1696442070" sldId="2147484246"/>
        </pc:sldMasterMkLst>
        <pc:sldLayoutChg chg="del">
          <pc:chgData name="Gilchrist, Oliver (IP&amp;I Finance)" userId="b052c3d1-5afb-44ae-afc5-9f9e9aa0e07d" providerId="ADAL" clId="{66D4CB5D-D9BB-43AB-BE7E-2213DE7F5FD7}" dt="2025-12-05T14:39:25.130" v="0" actId="47"/>
          <pc:sldLayoutMkLst>
            <pc:docMk/>
            <pc:sldMasterMk cId="1696442070" sldId="2147484246"/>
            <pc:sldLayoutMk cId="1063292381" sldId="2147484247"/>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1051864808" sldId="2147484248"/>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1339500976" sldId="2147484249"/>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2883142566" sldId="2147484250"/>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4277831775" sldId="2147484251"/>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239722213" sldId="2147484252"/>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3037029010" sldId="2147484253"/>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968152728" sldId="2147484254"/>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3345243907" sldId="2147484255"/>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1769595853" sldId="2147484256"/>
          </pc:sldLayoutMkLst>
        </pc:sldLayoutChg>
        <pc:sldLayoutChg chg="del">
          <pc:chgData name="Gilchrist, Oliver (IP&amp;I Finance)" userId="b052c3d1-5afb-44ae-afc5-9f9e9aa0e07d" providerId="ADAL" clId="{66D4CB5D-D9BB-43AB-BE7E-2213DE7F5FD7}" dt="2025-12-05T14:39:25.130" v="0" actId="47"/>
          <pc:sldLayoutMkLst>
            <pc:docMk/>
            <pc:sldMasterMk cId="1696442070" sldId="2147484246"/>
            <pc:sldLayoutMk cId="3748065025" sldId="214748425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Poppins" panose="00000500000000000000" pitchFamily="2"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Poppins" panose="00000500000000000000" pitchFamily="2" charset="0"/>
              </a:defRPr>
            </a:lvl1pPr>
          </a:lstStyle>
          <a:p>
            <a:fld id="{7726AC9D-F992-4D3C-A5EB-1702BD67893F}" type="datetimeFigureOut">
              <a:rPr lang="en-GB" smtClean="0"/>
              <a:pPr/>
              <a:t>05/1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Poppins" panose="00000500000000000000" pitchFamily="2"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Poppins" panose="00000500000000000000" pitchFamily="2" charset="0"/>
              </a:defRPr>
            </a:lvl1pPr>
          </a:lstStyle>
          <a:p>
            <a:fld id="{CAD36708-D0F5-456A-B73B-5384D8124CBC}" type="slidenum">
              <a:rPr lang="en-GB" smtClean="0"/>
              <a:pPr/>
              <a:t>‹#›</a:t>
            </a:fld>
            <a:endParaRPr lang="en-GB"/>
          </a:p>
        </p:txBody>
      </p:sp>
    </p:spTree>
    <p:extLst>
      <p:ext uri="{BB962C8B-B14F-4D97-AF65-F5344CB8AC3E}">
        <p14:creationId xmlns:p14="http://schemas.microsoft.com/office/powerpoint/2010/main" val="2725018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Poppins" panose="00000500000000000000" pitchFamily="2" charset="0"/>
        <a:ea typeface="+mn-ea"/>
        <a:cs typeface="+mn-cs"/>
      </a:defRPr>
    </a:lvl1pPr>
    <a:lvl2pPr marL="457200" algn="l" defTabSz="914400" rtl="0" eaLnBrk="1" latinLnBrk="0" hangingPunct="1">
      <a:defRPr sz="1200" kern="1200">
        <a:solidFill>
          <a:schemeClr val="tx1"/>
        </a:solidFill>
        <a:latin typeface="Poppins" panose="00000500000000000000" pitchFamily="2" charset="0"/>
        <a:ea typeface="+mn-ea"/>
        <a:cs typeface="+mn-cs"/>
      </a:defRPr>
    </a:lvl2pPr>
    <a:lvl3pPr marL="914400" algn="l" defTabSz="914400" rtl="0" eaLnBrk="1" latinLnBrk="0" hangingPunct="1">
      <a:defRPr sz="1200" kern="1200">
        <a:solidFill>
          <a:schemeClr val="tx1"/>
        </a:solidFill>
        <a:latin typeface="Poppins" panose="00000500000000000000" pitchFamily="2" charset="0"/>
        <a:ea typeface="+mn-ea"/>
        <a:cs typeface="+mn-cs"/>
      </a:defRPr>
    </a:lvl3pPr>
    <a:lvl4pPr marL="1371600" algn="l" defTabSz="914400" rtl="0" eaLnBrk="1" latinLnBrk="0" hangingPunct="1">
      <a:defRPr sz="1200" kern="1200">
        <a:solidFill>
          <a:schemeClr val="tx1"/>
        </a:solidFill>
        <a:latin typeface="Poppins" panose="00000500000000000000" pitchFamily="2" charset="0"/>
        <a:ea typeface="+mn-ea"/>
        <a:cs typeface="+mn-cs"/>
      </a:defRPr>
    </a:lvl4pPr>
    <a:lvl5pPr marL="1828800" algn="l" defTabSz="914400" rtl="0" eaLnBrk="1" latinLnBrk="0" hangingPunct="1">
      <a:defRPr sz="1200" kern="1200">
        <a:solidFill>
          <a:schemeClr val="tx1"/>
        </a:solidFill>
        <a:latin typeface="Poppi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EEE89-05F5-43F8-83F3-1F0A6552C2E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EF87553A-BC47-8256-35BE-1525A2A105D9}"/>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97514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7DC58-1F5D-7A6A-F079-B6355990DF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D866FE-7214-8D07-FD78-3D2C7CBE1851}"/>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81D179C1-1884-4F33-5864-784DA593D9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EEE89-05F5-43F8-83F3-1F0A6552C2E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3D5265CE-9E64-786C-9385-C91A9B233A6F}"/>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811376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0BB02-2324-49F8-047F-49984C3F29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EE3EF1-E4AE-0EE1-9FA3-9F1C6FADD5D2}"/>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E296B51E-771B-71A2-1FE3-3990BFD61D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EEE89-05F5-43F8-83F3-1F0A6552C2E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73DC40A2-0961-D175-35DA-BA06BCF0AF3A}"/>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4151368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C0C36-5ADA-B015-1170-01E47B2AB4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CA2EE2-B70A-12B5-EBBD-2D11410C030D}"/>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D407E458-63EA-B61C-49FD-CB82AE7755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EEE89-05F5-43F8-83F3-1F0A6552C2E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1628BE5D-518C-59BA-DF63-8F3A3A58DE78}"/>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764331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eed to consider – </a:t>
            </a:r>
          </a:p>
          <a:p>
            <a:r>
              <a:rPr lang="en-GB"/>
              <a:t>How we offer “mid year” not at annual savings review</a:t>
            </a:r>
          </a:p>
          <a:p>
            <a:r>
              <a:rPr lang="en-GB"/>
              <a:t>Multiple savings accounts with multiple rates</a:t>
            </a:r>
          </a:p>
          <a:p>
            <a:r>
              <a:rPr lang="en-GB"/>
              <a:t>How a customer adds in non LBG saving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321C44-DF51-46B0-A663-4F7BF8C6780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54842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19E99-895E-1F18-C179-A8AE81BEAA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CAB782-E797-A4BD-EF33-ECDB4E97CF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F3860-2ADC-48DF-3BEE-71D58F4BCF5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5FEE041-84E8-31FE-E7C7-F660CADCDA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321C44-DF51-46B0-A663-4F7BF8C6780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6223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8.xml"/><Relationship Id="rId1" Type="http://schemas.openxmlformats.org/officeDocument/2006/relationships/tags" Target="../tags/tag74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0.xml"/><Relationship Id="rId1" Type="http://schemas.openxmlformats.org/officeDocument/2006/relationships/tags" Target="../tags/tag74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2.xml"/><Relationship Id="rId1" Type="http://schemas.openxmlformats.org/officeDocument/2006/relationships/tags" Target="../tags/tag75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4.xml"/><Relationship Id="rId1" Type="http://schemas.openxmlformats.org/officeDocument/2006/relationships/tags" Target="../tags/tag75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6.xml"/><Relationship Id="rId1" Type="http://schemas.openxmlformats.org/officeDocument/2006/relationships/tags" Target="../tags/tag75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4.xml"/><Relationship Id="rId1" Type="http://schemas.openxmlformats.org/officeDocument/2006/relationships/tags" Target="../tags/tag77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6.xml"/><Relationship Id="rId1" Type="http://schemas.openxmlformats.org/officeDocument/2006/relationships/tags" Target="../tags/tag77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0.xml"/><Relationship Id="rId1" Type="http://schemas.openxmlformats.org/officeDocument/2006/relationships/tags" Target="../tags/tag77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6.xml"/><Relationship Id="rId1" Type="http://schemas.openxmlformats.org/officeDocument/2006/relationships/tags" Target="../tags/tag78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8.xml"/><Relationship Id="rId1" Type="http://schemas.openxmlformats.org/officeDocument/2006/relationships/tags" Target="../tags/tag78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2.xml"/><Relationship Id="rId1" Type="http://schemas.openxmlformats.org/officeDocument/2006/relationships/tags" Target="../tags/tag79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4.xml"/><Relationship Id="rId1" Type="http://schemas.openxmlformats.org/officeDocument/2006/relationships/tags" Target="../tags/tag79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8.xml"/><Relationship Id="rId1" Type="http://schemas.openxmlformats.org/officeDocument/2006/relationships/tags" Target="../tags/tag79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4.xml"/><Relationship Id="rId1" Type="http://schemas.openxmlformats.org/officeDocument/2006/relationships/tags" Target="../tags/tag803.x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6.xml"/><Relationship Id="rId1" Type="http://schemas.openxmlformats.org/officeDocument/2006/relationships/tags" Target="../tags/tag80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10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10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4.xml"/><Relationship Id="rId7" Type="http://schemas.openxmlformats.org/officeDocument/2006/relationships/image" Target="../media/image10.emf"/><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oleObject" Target="../embeddings/oleObject2.bin"/><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image" Target="../media/image23.png"/></Relationships>
</file>

<file path=ppt/slideLayouts/_rels/slideLayout10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6.png"/><Relationship Id="rId2" Type="http://schemas.openxmlformats.org/officeDocument/2006/relationships/tags" Target="../tags/tag812.xml"/><Relationship Id="rId1" Type="http://schemas.openxmlformats.org/officeDocument/2006/relationships/tags" Target="../tags/tag81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10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78.xml"/><Relationship Id="rId4" Type="http://schemas.openxmlformats.org/officeDocument/2006/relationships/image" Target="../media/image10.emf"/></Relationships>
</file>

<file path=ppt/slideLayouts/_rels/slideLayout40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79.xml"/><Relationship Id="rId4" Type="http://schemas.openxmlformats.org/officeDocument/2006/relationships/image" Target="../media/image10.emf"/></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2.xml"/><Relationship Id="rId7" Type="http://schemas.openxmlformats.org/officeDocument/2006/relationships/image" Target="../media/image10.emf"/><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oleObject" Target="../embeddings/oleObject2.bin"/><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image" Target="../media/image23.png"/></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6.png"/><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3.xml"/><Relationship Id="rId4" Type="http://schemas.openxmlformats.org/officeDocument/2006/relationships/image" Target="../media/image31.svg"/></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gi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Master" Target="../slideMasters/slideMaster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408.xml"/><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8.xml"/><Relationship Id="rId1" Type="http://schemas.openxmlformats.org/officeDocument/2006/relationships/tags" Target="../tags/tag50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6.xml"/><Relationship Id="rId1" Type="http://schemas.openxmlformats.org/officeDocument/2006/relationships/tags" Target="../tags/tag54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8.xml"/><Relationship Id="rId1" Type="http://schemas.openxmlformats.org/officeDocument/2006/relationships/tags" Target="../tags/tag54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4.xml"/><Relationship Id="rId1" Type="http://schemas.openxmlformats.org/officeDocument/2006/relationships/tags" Target="../tags/tag55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0.xml"/><Relationship Id="rId1" Type="http://schemas.openxmlformats.org/officeDocument/2006/relationships/tags" Target="../tags/tag55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0.xml"/><Relationship Id="rId1" Type="http://schemas.openxmlformats.org/officeDocument/2006/relationships/tags" Target="../tags/tag56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8.xml"/><Relationship Id="rId1" Type="http://schemas.openxmlformats.org/officeDocument/2006/relationships/tags" Target="../tags/tag57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0.xml"/><Relationship Id="rId1" Type="http://schemas.openxmlformats.org/officeDocument/2006/relationships/tags" Target="../tags/tag57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8.xml"/><Relationship Id="rId1" Type="http://schemas.openxmlformats.org/officeDocument/2006/relationships/tags" Target="../tags/tag59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4.xml"/><Relationship Id="rId1" Type="http://schemas.openxmlformats.org/officeDocument/2006/relationships/tags" Target="../tags/tag60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6.xml"/><Relationship Id="rId1" Type="http://schemas.openxmlformats.org/officeDocument/2006/relationships/tags" Target="../tags/tag60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4.xml"/><Relationship Id="rId1" Type="http://schemas.openxmlformats.org/officeDocument/2006/relationships/tags" Target="../tags/tag61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0.xml"/><Relationship Id="rId1" Type="http://schemas.openxmlformats.org/officeDocument/2006/relationships/tags" Target="../tags/tag61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2.xml"/><Relationship Id="rId1" Type="http://schemas.openxmlformats.org/officeDocument/2006/relationships/tags" Target="../tags/tag62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6.xml"/><Relationship Id="rId1" Type="http://schemas.openxmlformats.org/officeDocument/2006/relationships/tags" Target="../tags/tag62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6.xml"/><Relationship Id="rId1" Type="http://schemas.openxmlformats.org/officeDocument/2006/relationships/tags" Target="../tags/tag63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8.xml"/><Relationship Id="rId1" Type="http://schemas.openxmlformats.org/officeDocument/2006/relationships/tags" Target="../tags/tag63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0.xml"/><Relationship Id="rId1" Type="http://schemas.openxmlformats.org/officeDocument/2006/relationships/tags" Target="../tags/tag63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6.xml"/><Relationship Id="rId1" Type="http://schemas.openxmlformats.org/officeDocument/2006/relationships/tags" Target="../tags/tag64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0.xml"/><Relationship Id="rId1" Type="http://schemas.openxmlformats.org/officeDocument/2006/relationships/tags" Target="../tags/tag64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4.xml"/><Relationship Id="rId1" Type="http://schemas.openxmlformats.org/officeDocument/2006/relationships/tags" Target="../tags/tag65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6.xml"/><Relationship Id="rId1" Type="http://schemas.openxmlformats.org/officeDocument/2006/relationships/tags" Target="../tags/tag65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2.xml"/><Relationship Id="rId1" Type="http://schemas.openxmlformats.org/officeDocument/2006/relationships/tags" Target="../tags/tag66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8.xml"/><Relationship Id="rId1" Type="http://schemas.openxmlformats.org/officeDocument/2006/relationships/tags" Target="../tags/tag66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0.xml"/><Relationship Id="rId1" Type="http://schemas.openxmlformats.org/officeDocument/2006/relationships/tags" Target="../tags/tag66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4.xml"/><Relationship Id="rId1" Type="http://schemas.openxmlformats.org/officeDocument/2006/relationships/tags" Target="../tags/tag67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8.xml"/><Relationship Id="rId1" Type="http://schemas.openxmlformats.org/officeDocument/2006/relationships/tags" Target="../tags/tag67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4.xml"/><Relationship Id="rId1" Type="http://schemas.openxmlformats.org/officeDocument/2006/relationships/tags" Target="../tags/tag68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85.xml"/><Relationship Id="rId4" Type="http://schemas.openxmlformats.org/officeDocument/2006/relationships/image" Target="../media/image10.emf"/></Relationships>
</file>

<file path=ppt/slideLayouts/_rels/slideLayout9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86.xml"/><Relationship Id="rId4" Type="http://schemas.openxmlformats.org/officeDocument/2006/relationships/image" Target="../media/image10.emf"/></Relationships>
</file>

<file path=ppt/slideLayouts/_rels/slideLayout9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6.xml"/><Relationship Id="rId1" Type="http://schemas.openxmlformats.org/officeDocument/2006/relationships/tags" Target="../tags/tag69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8.xml"/><Relationship Id="rId1" Type="http://schemas.openxmlformats.org/officeDocument/2006/relationships/tags" Target="../tags/tag69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2.xml"/><Relationship Id="rId1" Type="http://schemas.openxmlformats.org/officeDocument/2006/relationships/tags" Target="../tags/tag70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4.xml"/><Relationship Id="rId1" Type="http://schemas.openxmlformats.org/officeDocument/2006/relationships/tags" Target="../tags/tag70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6.xml"/><Relationship Id="rId1" Type="http://schemas.openxmlformats.org/officeDocument/2006/relationships/tags" Target="../tags/tag71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0.xml"/><Relationship Id="rId1" Type="http://schemas.openxmlformats.org/officeDocument/2006/relationships/tags" Target="../tags/tag71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2.xml"/><Relationship Id="rId1" Type="http://schemas.openxmlformats.org/officeDocument/2006/relationships/tags" Target="../tags/tag72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6.xml"/><Relationship Id="rId1" Type="http://schemas.openxmlformats.org/officeDocument/2006/relationships/tags" Target="../tags/tag72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8.xml"/><Relationship Id="rId1" Type="http://schemas.openxmlformats.org/officeDocument/2006/relationships/tags" Target="../tags/tag7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2.xml"/><Relationship Id="rId1" Type="http://schemas.openxmlformats.org/officeDocument/2006/relationships/tags" Target="../tags/tag73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6.xml"/><Relationship Id="rId1" Type="http://schemas.openxmlformats.org/officeDocument/2006/relationships/tags" Target="../tags/tag735.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0.xml"/><Relationship Id="rId1" Type="http://schemas.openxmlformats.org/officeDocument/2006/relationships/tags" Target="../tags/tag739.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4.xml"/><Relationship Id="rId1" Type="http://schemas.openxmlformats.org/officeDocument/2006/relationships/tags" Target="../tags/tag74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78719-8A2B-E177-322F-7AF621283AA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120B48A1-6FFB-DF57-93CC-9CA5E34646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F9568C9F-1A8E-B701-F9AD-AC0093604AFA}"/>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D4C1539A-9615-8A43-5F22-5FAAE4CA110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7DC2AE-AD1B-CD2C-D07F-21881E00416F}"/>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3048465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EF9AF-E7FA-61A7-DFE3-44BA5C8C892C}"/>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2961D4C6-ADF8-C1B7-05C2-97108CB7CCDB}"/>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78F4D5D-412F-B23B-5630-34B4D95D8E9C}"/>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5BEC90C0-933D-5A7F-3D7B-3BCFC3AC36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E1FC43F-6FB2-9206-21A5-30B68BC10B9B}"/>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6443238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3175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8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239429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8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86759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14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5999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16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8"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6"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55"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32"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09"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7151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19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1365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4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2"/>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4000" y="3425151"/>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6483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60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1409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59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3711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5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8"/>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29780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5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63296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101661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56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1"/>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21730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8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2770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1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5975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51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0399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8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4" y="1"/>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202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7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8" y="270566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0300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8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1" y="218503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7"/>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065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25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9825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7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44796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24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82625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2847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23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303988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8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1" y="2"/>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8" y="2705668"/>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828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105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8136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104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9801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103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4298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102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6"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6180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101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196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100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06640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99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46833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9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3398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9638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97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9258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24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5"/>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03991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17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3836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23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5"/>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54499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16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3151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2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748952"/>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4222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7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5"/>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08817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8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0"/>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5"/>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8"/>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8"/>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5"/>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8298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7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4"/>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7"/>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6"/>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2"/>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21904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7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2"/>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1"/>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1"/>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19366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389753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4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6"/>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wrap="square">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168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2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0"/>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3387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2.xml><?xml version="1.0" encoding="utf-8"?>
<p:sldLayout xmlns:a="http://schemas.openxmlformats.org/drawingml/2006/main" xmlns:r="http://schemas.openxmlformats.org/officeDocument/2006/relationships" xmlns:p="http://schemas.openxmlformats.org/presentationml/2006/main" userDrawn="1">
  <p:cSld name="36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8072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366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9953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36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0410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36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4006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36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7848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36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6764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361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7896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360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8747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5215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35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93131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35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99243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35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75460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35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83314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35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08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35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4576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35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6115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35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4592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35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0428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35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7999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03290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349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22189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348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340374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347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323093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34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42922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34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4228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34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26219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34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63079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342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95024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89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5605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34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3"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4722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7612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33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80"/>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74616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32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02645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12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wrap="square">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92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10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76431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56" y="1589"/>
          <a:ext cx="1955"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956" y="1589"/>
                        <a:ext cx="1955"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0"/>
            <a:ext cx="195385"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n-US" sz="2585" b="1">
              <a:solidFill>
                <a:srgbClr val="FFFFFF"/>
              </a:solidFill>
              <a:sym typeface="Arial" panose="020B0604020202020204" pitchFamily="34" charset="0"/>
            </a:endParaRPr>
          </a:p>
        </p:txBody>
      </p:sp>
      <p:sp>
        <p:nvSpPr>
          <p:cNvPr id="2" name="Title 1"/>
          <p:cNvSpPr>
            <a:spLocks noGrp="1"/>
          </p:cNvSpPr>
          <p:nvPr>
            <p:ph type="title"/>
          </p:nvPr>
        </p:nvSpPr>
        <p:spPr/>
        <p:txBody>
          <a:bodyPr/>
          <a:lstStyle>
            <a:lvl1pPr>
              <a:defRPr sz="2585">
                <a:latin typeface="+mj-lt"/>
                <a:ea typeface="+mj-ea"/>
                <a:cs typeface="+mj-cs"/>
                <a:sym typeface="+mj-lt"/>
              </a:defRPr>
            </a:lvl1pPr>
          </a:lstStyle>
          <a:p>
            <a:r>
              <a:rPr lang="en-US"/>
              <a:t>Click to edit Master title style</a:t>
            </a:r>
            <a:endParaRPr lang="en-GB"/>
          </a:p>
        </p:txBody>
      </p:sp>
      <p:sp>
        <p:nvSpPr>
          <p:cNvPr id="3" name="Content Placeholder 2"/>
          <p:cNvSpPr>
            <a:spLocks noGrp="1"/>
          </p:cNvSpPr>
          <p:nvPr>
            <p:ph idx="1" hasCustomPrompt="1"/>
          </p:nvPr>
        </p:nvSpPr>
        <p:spPr>
          <a:xfrm>
            <a:off x="521682" y="1692000"/>
            <a:ext cx="9092908" cy="4536000"/>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add text or select icon to insert image, graphic, table, chart, smart art or media </a:t>
            </a:r>
            <a:endParaRPr lang="en-GB"/>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5"/>
          <p:cNvSpPr>
            <a:spLocks noGrp="1"/>
          </p:cNvSpPr>
          <p:nvPr>
            <p:ph type="body" sz="quarter" idx="15" hasCustomPrompt="1"/>
          </p:nvPr>
        </p:nvSpPr>
        <p:spPr>
          <a:xfrm>
            <a:off x="532215" y="952500"/>
            <a:ext cx="9081508" cy="382060"/>
          </a:xfrm>
        </p:spPr>
        <p:txBody>
          <a:bodyPr/>
          <a:lstStyle>
            <a:lvl1pPr marL="0" indent="0">
              <a:lnSpc>
                <a:spcPct val="80000"/>
              </a:lnSpc>
              <a:spcAft>
                <a:spcPts val="0"/>
              </a:spcAft>
              <a:buNone/>
              <a:defRPr sz="1292" b="1">
                <a:latin typeface="+mn-lt"/>
                <a:ea typeface="+mn-ea"/>
                <a:cs typeface="+mn-cs"/>
                <a:sym typeface="+mn-lt"/>
              </a:defRPr>
            </a:lvl1pPr>
            <a:lvl2pPr marL="230578" indent="0">
              <a:buNone/>
              <a:defRPr/>
            </a:lvl2pPr>
            <a:lvl3pPr marL="455295" indent="0">
              <a:buNone/>
              <a:defRPr/>
            </a:lvl3pPr>
            <a:lvl4pPr marL="670239" indent="0">
              <a:buNone/>
              <a:defRPr/>
            </a:lvl4pPr>
            <a:lvl5pPr marL="894957" indent="0">
              <a:buNone/>
              <a:defRPr/>
            </a:lvl5pPr>
          </a:lstStyle>
          <a:p>
            <a:pPr lvl="0"/>
            <a:r>
              <a:rPr lang="en-US"/>
              <a:t>Add a subhead here</a:t>
            </a:r>
            <a:endParaRPr lang="en-GB"/>
          </a:p>
        </p:txBody>
      </p:sp>
    </p:spTree>
    <p:extLst>
      <p:ext uri="{BB962C8B-B14F-4D97-AF65-F5344CB8AC3E}">
        <p14:creationId xmlns:p14="http://schemas.microsoft.com/office/powerpoint/2010/main" val="251300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Standard slide + subtit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3" y="425496"/>
            <a:ext cx="8105269" cy="785532"/>
          </a:xfrm>
          <a:prstGeom prst="rect">
            <a:avLst/>
          </a:prstGeom>
        </p:spPr>
        <p:txBody>
          <a:bodyPr lIns="0"/>
          <a:lstStyle>
            <a:lvl1pPr>
              <a:lnSpc>
                <a:spcPct val="90000"/>
              </a:lnSpc>
              <a:defRPr lang="en-GB" sz="3600"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Standard content slid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808079" y="280706"/>
            <a:ext cx="1297759" cy="657774"/>
          </a:xfrm>
          <a:prstGeom prst="rect">
            <a:avLst/>
          </a:prstGeom>
        </p:spPr>
      </p:pic>
      <p:sp>
        <p:nvSpPr>
          <p:cNvPr id="2" name="Text Placeholder 8">
            <a:extLst>
              <a:ext uri="{FF2B5EF4-FFF2-40B4-BE49-F238E27FC236}">
                <a16:creationId xmlns:a16="http://schemas.microsoft.com/office/drawing/2014/main" id="{51A1FE4A-2A5F-132E-E6B3-2AE7F1CB094E}"/>
              </a:ext>
            </a:extLst>
          </p:cNvPr>
          <p:cNvSpPr>
            <a:spLocks noGrp="1"/>
          </p:cNvSpPr>
          <p:nvPr>
            <p:ph type="body" sz="quarter" idx="12" hasCustomPrompt="1"/>
          </p:nvPr>
        </p:nvSpPr>
        <p:spPr>
          <a:xfrm>
            <a:off x="550683" y="1003093"/>
            <a:ext cx="8105269" cy="485182"/>
          </a:xfrm>
          <a:prstGeom prst="rect">
            <a:avLst/>
          </a:prstGeom>
        </p:spPr>
        <p:txBody>
          <a:bodyPr lIns="0"/>
          <a:lstStyle>
            <a:lvl1pPr>
              <a:lnSpc>
                <a:spcPct val="90000"/>
              </a:lnSpc>
              <a:defRPr lang="en-GB" sz="1600" b="1" i="0" spc="-85" dirty="0">
                <a:solidFill>
                  <a:schemeClr val="tx1"/>
                </a:solidFill>
                <a:latin typeface="Poppins"/>
                <a:ea typeface="+mj-ea"/>
                <a:cs typeface="Poppins"/>
              </a:defRPr>
            </a:lvl1pPr>
          </a:lstStyle>
          <a:p>
            <a:pPr lvl="0"/>
            <a:r>
              <a:rPr lang="en-GB"/>
              <a:t>Subtitle and governing thought</a:t>
            </a:r>
          </a:p>
        </p:txBody>
      </p:sp>
    </p:spTree>
    <p:extLst>
      <p:ext uri="{BB962C8B-B14F-4D97-AF65-F5344CB8AC3E}">
        <p14:creationId xmlns:p14="http://schemas.microsoft.com/office/powerpoint/2010/main" val="366855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6.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pSp>
        <p:nvGrpSpPr>
          <p:cNvPr id="20" name="Group 19" descr="Subtitle">
            <a:extLst>
              <a:ext uri="{FF2B5EF4-FFF2-40B4-BE49-F238E27FC236}">
                <a16:creationId xmlns:a16="http://schemas.microsoft.com/office/drawing/2014/main" id="{AF32C9A6-F465-4AFD-8A55-BF8D7238331D}"/>
              </a:ext>
            </a:extLst>
          </p:cNvPr>
          <p:cNvGrpSpPr/>
          <p:nvPr userDrawn="1"/>
        </p:nvGrpSpPr>
        <p:grpSpPr>
          <a:xfrm>
            <a:off x="0" y="-2371"/>
            <a:ext cx="12192000" cy="6860372"/>
            <a:chOff x="0" y="-1779"/>
            <a:chExt cx="9144000" cy="5145279"/>
          </a:xfrm>
        </p:grpSpPr>
        <p:sp>
          <p:nvSpPr>
            <p:cNvPr id="11" name="Rectangle 10">
              <a:extLst>
                <a:ext uri="{FF2B5EF4-FFF2-40B4-BE49-F238E27FC236}">
                  <a16:creationId xmlns:a16="http://schemas.microsoft.com/office/drawing/2014/main" id="{5BED3732-535E-4635-B982-6088BC8CA092}"/>
                </a:ext>
              </a:extLst>
            </p:cNvPr>
            <p:cNvSpPr/>
            <p:nvPr userDrawn="1"/>
          </p:nvSpPr>
          <p:spPr bwMode="auto">
            <a:xfrm>
              <a:off x="0" y="1"/>
              <a:ext cx="9143999" cy="5143499"/>
            </a:xfrm>
            <a:prstGeom prst="rect">
              <a:avLst/>
            </a:prstGeom>
            <a:gradFill flip="none" rotWithShape="1">
              <a:gsLst>
                <a:gs pos="28000">
                  <a:schemeClr val="accent2">
                    <a:lumMod val="100000"/>
                  </a:schemeClr>
                </a:gs>
                <a:gs pos="71000">
                  <a:schemeClr val="accent3"/>
                </a:gs>
              </a:gsLst>
              <a:lin ang="18900000" scaled="1"/>
              <a:tileRect/>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endParaRPr lang="en-US" sz="1800">
                <a:solidFill>
                  <a:srgbClr val="000000"/>
                </a:solidFill>
              </a:endParaRPr>
            </a:p>
          </p:txBody>
        </p:sp>
        <p:pic>
          <p:nvPicPr>
            <p:cNvPr id="12" name="Picture 11" descr="large-chevron-01.png">
              <a:extLst>
                <a:ext uri="{FF2B5EF4-FFF2-40B4-BE49-F238E27FC236}">
                  <a16:creationId xmlns:a16="http://schemas.microsoft.com/office/drawing/2014/main" id="{4E04C9E6-3158-437D-9B05-78CE8F96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4239" y="-1779"/>
              <a:ext cx="6839761" cy="5143500"/>
            </a:xfrm>
            <a:prstGeom prst="rect">
              <a:avLst/>
            </a:prstGeom>
          </p:spPr>
        </p:pic>
      </p:grpSp>
      <p:pic>
        <p:nvPicPr>
          <p:cNvPr id="13" name="Picture 12" descr="A close up of a logo&#10;&#10;Description automatically generated">
            <a:extLst>
              <a:ext uri="{FF2B5EF4-FFF2-40B4-BE49-F238E27FC236}">
                <a16:creationId xmlns:a16="http://schemas.microsoft.com/office/drawing/2014/main" id="{E869EDC2-CA41-456F-ABF6-E77476A51A35}"/>
              </a:ext>
            </a:extLst>
          </p:cNvPr>
          <p:cNvPicPr>
            <a:picLocks noChangeAspect="1"/>
          </p:cNvPicPr>
          <p:nvPr userDrawn="1"/>
        </p:nvPicPr>
        <p:blipFill>
          <a:blip r:embed="rId3"/>
          <a:stretch>
            <a:fillRect/>
          </a:stretch>
        </p:blipFill>
        <p:spPr>
          <a:xfrm>
            <a:off x="10231885" y="6231083"/>
            <a:ext cx="1433068" cy="462280"/>
          </a:xfrm>
          <a:prstGeom prst="rect">
            <a:avLst/>
          </a:prstGeom>
        </p:spPr>
      </p:pic>
      <p:sp>
        <p:nvSpPr>
          <p:cNvPr id="19" name="Text Placeholder 18" descr="Title">
            <a:extLst>
              <a:ext uri="{FF2B5EF4-FFF2-40B4-BE49-F238E27FC236}">
                <a16:creationId xmlns:a16="http://schemas.microsoft.com/office/drawing/2014/main" id="{9FDA6ECD-66FD-4EF8-9A2B-A7C4BCD6B445}"/>
              </a:ext>
            </a:extLst>
          </p:cNvPr>
          <p:cNvSpPr>
            <a:spLocks noGrp="1"/>
          </p:cNvSpPr>
          <p:nvPr>
            <p:ph type="body" sz="quarter" idx="10" hasCustomPrompt="1"/>
          </p:nvPr>
        </p:nvSpPr>
        <p:spPr>
          <a:xfrm>
            <a:off x="541759" y="2554246"/>
            <a:ext cx="8337551" cy="359833"/>
          </a:xfrm>
        </p:spPr>
        <p:txBody>
          <a:bodyPr anchor="ctr" anchorCtr="0"/>
          <a:lstStyle>
            <a:lvl1pPr marL="0" indent="0">
              <a:buNone/>
              <a:defRPr sz="2250" b="1" cap="all" baseline="0">
                <a:solidFill>
                  <a:schemeClr val="bg1"/>
                </a:solidFill>
              </a:defRPr>
            </a:lvl1pPr>
          </a:lstStyle>
          <a:p>
            <a:pPr lvl="0"/>
            <a:r>
              <a:rPr lang="en-US"/>
              <a:t>Click here to enter Title</a:t>
            </a:r>
            <a:endParaRPr lang="en-GB"/>
          </a:p>
        </p:txBody>
      </p:sp>
      <p:sp>
        <p:nvSpPr>
          <p:cNvPr id="22" name="Text Placeholder 21">
            <a:extLst>
              <a:ext uri="{FF2B5EF4-FFF2-40B4-BE49-F238E27FC236}">
                <a16:creationId xmlns:a16="http://schemas.microsoft.com/office/drawing/2014/main" id="{7AAE1D75-A6EB-46F9-B60A-574B3D29E0C7}"/>
              </a:ext>
            </a:extLst>
          </p:cNvPr>
          <p:cNvSpPr>
            <a:spLocks noGrp="1"/>
          </p:cNvSpPr>
          <p:nvPr>
            <p:ph type="body" sz="quarter" idx="11" hasCustomPrompt="1"/>
          </p:nvPr>
        </p:nvSpPr>
        <p:spPr>
          <a:xfrm>
            <a:off x="541758" y="2925253"/>
            <a:ext cx="7858503" cy="360000"/>
          </a:xfrm>
        </p:spPr>
        <p:txBody>
          <a:bodyPr/>
          <a:lstStyle>
            <a:lvl1pPr marL="0" indent="0">
              <a:buNone/>
              <a:defRPr sz="2250" cap="all" baseline="0">
                <a:solidFill>
                  <a:schemeClr val="bg1"/>
                </a:solidFill>
              </a:defRPr>
            </a:lvl1pPr>
          </a:lstStyle>
          <a:p>
            <a:pPr lvl="0"/>
            <a:r>
              <a:rPr lang="en-GB"/>
              <a:t>Click here to enter SUBTITLE</a:t>
            </a:r>
          </a:p>
        </p:txBody>
      </p:sp>
      <p:sp>
        <p:nvSpPr>
          <p:cNvPr id="25" name="Text Placeholder 24">
            <a:extLst>
              <a:ext uri="{FF2B5EF4-FFF2-40B4-BE49-F238E27FC236}">
                <a16:creationId xmlns:a16="http://schemas.microsoft.com/office/drawing/2014/main" id="{1F89D9E5-AACB-4734-9A40-F9519E651D8C}"/>
              </a:ext>
            </a:extLst>
          </p:cNvPr>
          <p:cNvSpPr>
            <a:spLocks noGrp="1"/>
          </p:cNvSpPr>
          <p:nvPr>
            <p:ph type="body" sz="quarter" idx="12" hasCustomPrompt="1"/>
          </p:nvPr>
        </p:nvSpPr>
        <p:spPr>
          <a:xfrm>
            <a:off x="527053" y="4252268"/>
            <a:ext cx="4705349" cy="312000"/>
          </a:xfrm>
        </p:spPr>
        <p:txBody>
          <a:bodyPr/>
          <a:lstStyle>
            <a:lvl1pPr marL="0" indent="0">
              <a:buNone/>
              <a:defRPr sz="1500" b="1">
                <a:solidFill>
                  <a:schemeClr val="bg1"/>
                </a:solidFill>
              </a:defRPr>
            </a:lvl1pPr>
          </a:lstStyle>
          <a:p>
            <a:pPr lvl="0"/>
            <a:r>
              <a:rPr lang="en-GB"/>
              <a:t>Click here to enter Presentation Author</a:t>
            </a:r>
          </a:p>
        </p:txBody>
      </p:sp>
      <p:sp>
        <p:nvSpPr>
          <p:cNvPr id="27" name="Text Placeholder 26">
            <a:extLst>
              <a:ext uri="{FF2B5EF4-FFF2-40B4-BE49-F238E27FC236}">
                <a16:creationId xmlns:a16="http://schemas.microsoft.com/office/drawing/2014/main" id="{09D7C18C-91A4-4C2F-94B1-763ED419B335}"/>
              </a:ext>
            </a:extLst>
          </p:cNvPr>
          <p:cNvSpPr>
            <a:spLocks noGrp="1"/>
          </p:cNvSpPr>
          <p:nvPr>
            <p:ph type="body" sz="quarter" idx="13" hasCustomPrompt="1"/>
          </p:nvPr>
        </p:nvSpPr>
        <p:spPr>
          <a:xfrm>
            <a:off x="527053" y="4587168"/>
            <a:ext cx="4705349" cy="312000"/>
          </a:xfrm>
        </p:spPr>
        <p:txBody>
          <a:bodyPr/>
          <a:lstStyle>
            <a:lvl1pPr marL="0" indent="0">
              <a:buNone/>
              <a:defRPr sz="1500">
                <a:solidFill>
                  <a:schemeClr val="bg1"/>
                </a:solidFill>
              </a:defRPr>
            </a:lvl1pPr>
          </a:lstStyle>
          <a:p>
            <a:pPr lvl="0"/>
            <a:r>
              <a:rPr lang="en-GB"/>
              <a:t>Click here to enter Date</a:t>
            </a:r>
          </a:p>
        </p:txBody>
      </p:sp>
      <p:sp>
        <p:nvSpPr>
          <p:cNvPr id="14" name="Footer Placeholder 5">
            <a:extLst>
              <a:ext uri="{FF2B5EF4-FFF2-40B4-BE49-F238E27FC236}">
                <a16:creationId xmlns:a16="http://schemas.microsoft.com/office/drawing/2014/main" id="{CF3399CA-77E3-45E9-97B1-F6F8D1B71A36}"/>
              </a:ext>
            </a:extLst>
          </p:cNvPr>
          <p:cNvSpPr>
            <a:spLocks noGrp="1"/>
          </p:cNvSpPr>
          <p:nvPr>
            <p:ph type="ftr" sz="quarter" idx="14"/>
          </p:nvPr>
        </p:nvSpPr>
        <p:spPr>
          <a:xfrm>
            <a:off x="527050" y="6462223"/>
            <a:ext cx="1152459" cy="177516"/>
          </a:xfrm>
          <a:prstGeom prst="rect">
            <a:avLst/>
          </a:prstGeom>
        </p:spPr>
        <p:txBody>
          <a:bodyPr anchor="ctr"/>
          <a:lstStyle>
            <a:lvl1pPr algn="l">
              <a:defRPr sz="800">
                <a:solidFill>
                  <a:schemeClr val="bg1"/>
                </a:solidFill>
              </a:defRPr>
            </a:lvl1pPr>
          </a:lstStyle>
          <a:p>
            <a:r>
              <a:rPr lang="en-GB"/>
              <a:t>Confidential</a:t>
            </a:r>
          </a:p>
        </p:txBody>
      </p:sp>
    </p:spTree>
    <p:extLst>
      <p:ext uri="{BB962C8B-B14F-4D97-AF65-F5344CB8AC3E}">
        <p14:creationId xmlns:p14="http://schemas.microsoft.com/office/powerpoint/2010/main" val="3384168976"/>
      </p:ext>
    </p:extLst>
  </p:cSld>
  <p:clrMapOvr>
    <a:overrideClrMapping bg1="lt1" tx1="dk1" bg2="lt2" tx2="dk2" accent1="accent1" accent2="accent2" accent3="accent3" accent4="accent4" accent5="accent5" accent6="accent6" hlink="hlink" folHlink="folHlink"/>
  </p:clrMapOvr>
  <p:transition spd="med">
    <p:fade thruBlk="1"/>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pic>
        <p:nvPicPr>
          <p:cNvPr id="4" name="Picture 3" descr="A picture containing drawing, mug&#10;&#10;Description automatically generated">
            <a:extLst>
              <a:ext uri="{FF2B5EF4-FFF2-40B4-BE49-F238E27FC236}">
                <a16:creationId xmlns:a16="http://schemas.microsoft.com/office/drawing/2014/main" id="{B804DEA5-3DA9-CCE9-8491-89C0C5C69FE5}"/>
              </a:ext>
            </a:extLst>
          </p:cNvPr>
          <p:cNvPicPr>
            <a:picLocks noChangeAspect="1"/>
          </p:cNvPicPr>
          <p:nvPr userDrawn="1"/>
        </p:nvPicPr>
        <p:blipFill>
          <a:blip r:embed="rId2"/>
          <a:stretch>
            <a:fillRect/>
          </a:stretch>
        </p:blipFill>
        <p:spPr>
          <a:xfrm>
            <a:off x="10426567" y="232915"/>
            <a:ext cx="1469415" cy="419893"/>
          </a:xfrm>
          <a:prstGeom prst="rect">
            <a:avLst/>
          </a:prstGeom>
        </p:spPr>
      </p:pic>
      <p:sp>
        <p:nvSpPr>
          <p:cNvPr id="2" name="Title 1">
            <a:extLst>
              <a:ext uri="{FF2B5EF4-FFF2-40B4-BE49-F238E27FC236}">
                <a16:creationId xmlns:a16="http://schemas.microsoft.com/office/drawing/2014/main" id="{AA52A056-5A3D-DC7C-961A-9FDE252DA6E9}"/>
              </a:ext>
            </a:extLst>
          </p:cNvPr>
          <p:cNvSpPr>
            <a:spLocks noGrp="1"/>
          </p:cNvSpPr>
          <p:nvPr>
            <p:ph type="title" hasCustomPrompt="1"/>
          </p:nvPr>
        </p:nvSpPr>
        <p:spPr>
          <a:xfrm>
            <a:off x="330375" y="321169"/>
            <a:ext cx="9504000" cy="615553"/>
          </a:xfrm>
        </p:spPr>
        <p:txBody>
          <a:bodyPr lIns="0" tIns="0" rIns="0" bIns="0"/>
          <a:lstStyle>
            <a:lvl1pPr>
              <a:defRPr sz="2000">
                <a:latin typeface="+mj-lt"/>
              </a:defRPr>
            </a:lvl1pPr>
          </a:lstStyle>
          <a:p>
            <a:r>
              <a:rPr lang="en-US"/>
              <a:t>Click to edit Master title style</a:t>
            </a:r>
            <a:br>
              <a:rPr lang="en-US"/>
            </a:br>
            <a:endParaRPr lang="en-GB"/>
          </a:p>
        </p:txBody>
      </p:sp>
      <p:cxnSp>
        <p:nvCxnSpPr>
          <p:cNvPr id="6" name="Straight Connector 5">
            <a:extLst>
              <a:ext uri="{FF2B5EF4-FFF2-40B4-BE49-F238E27FC236}">
                <a16:creationId xmlns:a16="http://schemas.microsoft.com/office/drawing/2014/main" id="{49D37C82-4E9E-148A-8BC5-2FF27BA21DFC}"/>
              </a:ext>
            </a:extLst>
          </p:cNvPr>
          <p:cNvCxnSpPr>
            <a:cxnSpLocks/>
          </p:cNvCxnSpPr>
          <p:nvPr userDrawn="1"/>
        </p:nvCxnSpPr>
        <p:spPr bwMode="auto">
          <a:xfrm>
            <a:off x="330376" y="1056439"/>
            <a:ext cx="11565606" cy="0"/>
          </a:xfrm>
          <a:prstGeom prst="line">
            <a:avLst/>
          </a:prstGeom>
          <a:solidFill>
            <a:schemeClr val="accent1"/>
          </a:solidFill>
          <a:ln w="19050" cap="flat" cmpd="sng" algn="ctr">
            <a:solidFill>
              <a:schemeClr val="accent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3" name="Footer Placeholder 2">
            <a:extLst>
              <a:ext uri="{FF2B5EF4-FFF2-40B4-BE49-F238E27FC236}">
                <a16:creationId xmlns:a16="http://schemas.microsoft.com/office/drawing/2014/main" id="{486AA172-C6EE-7C3E-8022-BBB96E1471DE}"/>
              </a:ext>
            </a:extLst>
          </p:cNvPr>
          <p:cNvSpPr>
            <a:spLocks noGrp="1"/>
          </p:cNvSpPr>
          <p:nvPr>
            <p:ph type="ftr" sz="quarter" idx="10"/>
          </p:nvPr>
        </p:nvSpPr>
        <p:spPr>
          <a:xfrm>
            <a:off x="527052" y="6485755"/>
            <a:ext cx="1152459" cy="177516"/>
          </a:xfrm>
          <a:prstGeom prst="rect">
            <a:avLst/>
          </a:prstGeom>
        </p:spPr>
        <p:txBody>
          <a:bodyPr/>
          <a:lstStyle/>
          <a:p>
            <a:r>
              <a:rPr lang="en-GB"/>
              <a:t>Confidential</a:t>
            </a:r>
          </a:p>
        </p:txBody>
      </p:sp>
    </p:spTree>
    <p:extLst>
      <p:ext uri="{BB962C8B-B14F-4D97-AF65-F5344CB8AC3E}">
        <p14:creationId xmlns:p14="http://schemas.microsoft.com/office/powerpoint/2010/main" val="2119493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26">
          <p15:clr>
            <a:srgbClr val="FBAE40"/>
          </p15:clr>
        </p15:guide>
        <p15:guide id="2" pos="202">
          <p15:clr>
            <a:srgbClr val="FBAE40"/>
          </p15:clr>
        </p15:guide>
        <p15:guide id="3" pos="4496">
          <p15:clr>
            <a:srgbClr val="FBAE40"/>
          </p15:clr>
        </p15:guide>
        <p15:guide id="4" orient="horz" pos="690">
          <p15:clr>
            <a:srgbClr val="FBAE40"/>
          </p15:clr>
        </p15:guide>
      </p15:sldGuideLst>
    </p:ext>
  </p:extLst>
</p:sldLayout>
</file>

<file path=ppt/slideLayouts/slideLayout107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B744A-31A5-98E7-5CDB-AE11F3F0D930}"/>
              </a:ext>
            </a:extLst>
          </p:cNvPr>
          <p:cNvSpPr>
            <a:spLocks noGrp="1"/>
          </p:cNvSpPr>
          <p:nvPr>
            <p:ph type="title"/>
          </p:nvPr>
        </p:nvSpPr>
        <p:spPr/>
        <p:txBody>
          <a:bodyPr/>
          <a:lstStyle/>
          <a:p>
            <a:r>
              <a:rPr lang="en-GB"/>
              <a:t>Click to edit Master title style</a:t>
            </a:r>
          </a:p>
        </p:txBody>
      </p:sp>
      <p:sp>
        <p:nvSpPr>
          <p:cNvPr id="5" name="TextBox 4">
            <a:extLst>
              <a:ext uri="{FF2B5EF4-FFF2-40B4-BE49-F238E27FC236}">
                <a16:creationId xmlns:a16="http://schemas.microsoft.com/office/drawing/2014/main" id="{84CF02C8-02FF-6768-45C6-AECD17BBF48C}"/>
              </a:ext>
            </a:extLst>
          </p:cNvPr>
          <p:cNvSpPr txBox="1"/>
          <p:nvPr userDrawn="1"/>
        </p:nvSpPr>
        <p:spPr>
          <a:xfrm>
            <a:off x="-1067655" y="460493"/>
            <a:ext cx="969174" cy="502573"/>
          </a:xfrm>
          <a:prstGeom prst="rect">
            <a:avLst/>
          </a:prstGeom>
          <a:noFill/>
        </p:spPr>
        <p:txBody>
          <a:bodyPr wrap="square" rtlCol="0">
            <a:spAutoFit/>
          </a:bodyPr>
          <a:lstStyle/>
          <a:p>
            <a:pPr algn="ctr"/>
            <a:r>
              <a:rPr lang="en-US" sz="1333">
                <a:latin typeface="+mn-lt"/>
              </a:rPr>
              <a:t>Embark colours</a:t>
            </a:r>
            <a:endParaRPr lang="en-GB" sz="1333">
              <a:latin typeface="+mn-lt"/>
            </a:endParaRPr>
          </a:p>
        </p:txBody>
      </p:sp>
      <p:sp>
        <p:nvSpPr>
          <p:cNvPr id="6" name="Rectangle 5">
            <a:extLst>
              <a:ext uri="{FF2B5EF4-FFF2-40B4-BE49-F238E27FC236}">
                <a16:creationId xmlns:a16="http://schemas.microsoft.com/office/drawing/2014/main" id="{CFFC2934-A750-3E3B-CB03-E46727954D7C}"/>
              </a:ext>
            </a:extLst>
          </p:cNvPr>
          <p:cNvSpPr/>
          <p:nvPr userDrawn="1"/>
        </p:nvSpPr>
        <p:spPr bwMode="auto">
          <a:xfrm>
            <a:off x="-825681" y="1170264"/>
            <a:ext cx="485228" cy="485228"/>
          </a:xfrm>
          <a:prstGeom prst="rect">
            <a:avLst/>
          </a:prstGeom>
          <a:solidFill>
            <a:schemeClr val="accent2"/>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7" name="Rectangle 6">
            <a:extLst>
              <a:ext uri="{FF2B5EF4-FFF2-40B4-BE49-F238E27FC236}">
                <a16:creationId xmlns:a16="http://schemas.microsoft.com/office/drawing/2014/main" id="{0B324FE4-9C16-BBA4-3644-23166996308B}"/>
              </a:ext>
            </a:extLst>
          </p:cNvPr>
          <p:cNvSpPr/>
          <p:nvPr userDrawn="1"/>
        </p:nvSpPr>
        <p:spPr bwMode="auto">
          <a:xfrm>
            <a:off x="-825681" y="1705710"/>
            <a:ext cx="485228" cy="485228"/>
          </a:xfrm>
          <a:prstGeom prst="rect">
            <a:avLst/>
          </a:prstGeom>
          <a:solidFill>
            <a:schemeClr val="accent3"/>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8" name="Rectangle 7">
            <a:extLst>
              <a:ext uri="{FF2B5EF4-FFF2-40B4-BE49-F238E27FC236}">
                <a16:creationId xmlns:a16="http://schemas.microsoft.com/office/drawing/2014/main" id="{F97E3DDE-65F0-AC18-D54B-7580C42126A6}"/>
              </a:ext>
            </a:extLst>
          </p:cNvPr>
          <p:cNvSpPr/>
          <p:nvPr userDrawn="1"/>
        </p:nvSpPr>
        <p:spPr bwMode="auto">
          <a:xfrm>
            <a:off x="-825681" y="2241159"/>
            <a:ext cx="485228" cy="485228"/>
          </a:xfrm>
          <a:prstGeom prst="rect">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14" name="Rectangle 13">
            <a:extLst>
              <a:ext uri="{FF2B5EF4-FFF2-40B4-BE49-F238E27FC236}">
                <a16:creationId xmlns:a16="http://schemas.microsoft.com/office/drawing/2014/main" id="{E8AE7F14-3DDB-7A5C-2F2E-CE4AF1428874}"/>
              </a:ext>
            </a:extLst>
          </p:cNvPr>
          <p:cNvSpPr/>
          <p:nvPr userDrawn="1"/>
        </p:nvSpPr>
        <p:spPr bwMode="auto">
          <a:xfrm>
            <a:off x="-825681" y="2774414"/>
            <a:ext cx="485228" cy="485228"/>
          </a:xfrm>
          <a:prstGeom prst="rect">
            <a:avLst/>
          </a:prstGeom>
          <a:solidFill>
            <a:srgbClr val="AB1254"/>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Tree>
    <p:extLst>
      <p:ext uri="{BB962C8B-B14F-4D97-AF65-F5344CB8AC3E}">
        <p14:creationId xmlns:p14="http://schemas.microsoft.com/office/powerpoint/2010/main" val="233386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6" name="Title 15"/>
          <p:cNvSpPr>
            <a:spLocks noGrp="1"/>
          </p:cNvSpPr>
          <p:nvPr>
            <p:ph type="title"/>
          </p:nvPr>
        </p:nvSpPr>
        <p:spPr>
          <a:xfrm>
            <a:off x="335402" y="332657"/>
            <a:ext cx="9963364" cy="792088"/>
          </a:xfrm>
        </p:spPr>
        <p:txBody>
          <a:bodyPr/>
          <a:lstStyle>
            <a:lvl1pPr>
              <a:defRPr b="1"/>
            </a:lvl1pPr>
          </a:lstStyle>
          <a:p>
            <a:r>
              <a:rPr lang="en-US"/>
              <a:t>Click to edit Master title style</a:t>
            </a:r>
            <a:endParaRPr lang="en-GB"/>
          </a:p>
        </p:txBody>
      </p:sp>
    </p:spTree>
    <p:extLst>
      <p:ext uri="{BB962C8B-B14F-4D97-AF65-F5344CB8AC3E}">
        <p14:creationId xmlns:p14="http://schemas.microsoft.com/office/powerpoint/2010/main" val="162951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5601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18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p:nvCxnSpPr>
        <p:spPr>
          <a:xfrm flipH="1">
            <a:off x="6096000" y="1390489"/>
            <a:ext cx="293" cy="3574809"/>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4488F957-08BE-4C69-9E18-FBDADBD1D083}" type="slidenum">
              <a:rPr lang="en-GB" smtClean="0"/>
              <a:t>‹#›</a:t>
            </a:fld>
            <a:endParaRPr lang="en-GB"/>
          </a:p>
        </p:txBody>
      </p:sp>
      <p:sp>
        <p:nvSpPr>
          <p:cNvPr id="8" name="Rectangle 7">
            <a:extLst>
              <a:ext uri="{FF2B5EF4-FFF2-40B4-BE49-F238E27FC236}">
                <a16:creationId xmlns:a16="http://schemas.microsoft.com/office/drawing/2014/main" id="{AC498C3F-9140-AC74-4CAB-ACBC97B46199}"/>
              </a:ext>
            </a:extLst>
          </p:cNvPr>
          <p:cNvSpPr/>
          <p:nvPr userDrawn="1"/>
        </p:nvSpPr>
        <p:spPr>
          <a:xfrm>
            <a:off x="667266" y="435170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18">
            <a:extLst>
              <a:ext uri="{FF2B5EF4-FFF2-40B4-BE49-F238E27FC236}">
                <a16:creationId xmlns:a16="http://schemas.microsoft.com/office/drawing/2014/main" id="{73459AC8-D2EF-937E-216D-B692E688CFF7}"/>
              </a:ext>
            </a:extLst>
          </p:cNvPr>
          <p:cNvSpPr>
            <a:spLocks noGrp="1"/>
          </p:cNvSpPr>
          <p:nvPr>
            <p:ph type="body" sz="quarter" idx="27" hasCustomPrompt="1"/>
          </p:nvPr>
        </p:nvSpPr>
        <p:spPr>
          <a:xfrm>
            <a:off x="998953" y="457304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Rectangle 9">
            <a:extLst>
              <a:ext uri="{FF2B5EF4-FFF2-40B4-BE49-F238E27FC236}">
                <a16:creationId xmlns:a16="http://schemas.microsoft.com/office/drawing/2014/main" id="{D4EBFCEC-024C-B20C-020B-1FC7580AA1D8}"/>
              </a:ext>
            </a:extLst>
          </p:cNvPr>
          <p:cNvSpPr/>
          <p:nvPr userDrawn="1"/>
        </p:nvSpPr>
        <p:spPr>
          <a:xfrm>
            <a:off x="6225303" y="435170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1" name="Text Placeholder 18">
            <a:extLst>
              <a:ext uri="{FF2B5EF4-FFF2-40B4-BE49-F238E27FC236}">
                <a16:creationId xmlns:a16="http://schemas.microsoft.com/office/drawing/2014/main" id="{2B8C3241-F40F-526D-2703-1F9CEECEBA45}"/>
              </a:ext>
            </a:extLst>
          </p:cNvPr>
          <p:cNvSpPr>
            <a:spLocks noGrp="1"/>
          </p:cNvSpPr>
          <p:nvPr>
            <p:ph type="body" sz="quarter" idx="28" hasCustomPrompt="1"/>
          </p:nvPr>
        </p:nvSpPr>
        <p:spPr>
          <a:xfrm>
            <a:off x="6346915" y="456129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354528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17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2653205"/>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58597" y="3987797"/>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p:nvSpPr>
        <p:spPr>
          <a:xfrm>
            <a:off x="7042246" y="3080"/>
            <a:ext cx="5149755"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p:nvSpPr>
        <p:spPr>
          <a:xfrm>
            <a:off x="285530" y="1657331"/>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p:nvSpPr>
        <p:spPr>
          <a:xfrm>
            <a:off x="269499" y="2970060"/>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p:nvSpPr>
        <p:spPr>
          <a:xfrm>
            <a:off x="252340" y="4304651"/>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00472" y="300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60009" y="4363559"/>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7870475" y="40127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p:nvCxnSpPr>
        <p:spPr>
          <a:xfrm>
            <a:off x="7870475" y="1279701"/>
            <a:ext cx="3585570" cy="0"/>
          </a:xfrm>
          <a:prstGeom prst="line">
            <a:avLst/>
          </a:prstGeom>
          <a:noFill/>
          <a:ln w="6350" cap="flat" cmpd="sng" algn="ctr">
            <a:solidFill>
              <a:schemeClr val="bg1"/>
            </a:solidFill>
            <a:prstDash val="solid"/>
          </a:ln>
          <a:effectLst/>
        </p:spPr>
      </p:cxnSp>
      <p:sp>
        <p:nvSpPr>
          <p:cNvPr id="25" name="Rectangle 24">
            <a:extLst>
              <a:ext uri="{FF2B5EF4-FFF2-40B4-BE49-F238E27FC236}">
                <a16:creationId xmlns:a16="http://schemas.microsoft.com/office/drawing/2014/main" id="{EF220506-BCD9-2A32-3BDC-948428A54096}"/>
              </a:ext>
            </a:extLst>
          </p:cNvPr>
          <p:cNvSpPr/>
          <p:nvPr userDrawn="1"/>
        </p:nvSpPr>
        <p:spPr>
          <a:xfrm>
            <a:off x="558597" y="5331436"/>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6" name="Oval 25">
            <a:extLst>
              <a:ext uri="{FF2B5EF4-FFF2-40B4-BE49-F238E27FC236}">
                <a16:creationId xmlns:a16="http://schemas.microsoft.com/office/drawing/2014/main" id="{A7F470AA-CF24-A480-0A86-4ED666F45F32}"/>
              </a:ext>
            </a:extLst>
          </p:cNvPr>
          <p:cNvSpPr/>
          <p:nvPr userDrawn="1"/>
        </p:nvSpPr>
        <p:spPr>
          <a:xfrm>
            <a:off x="252340" y="5648290"/>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4</a:t>
            </a:r>
          </a:p>
        </p:txBody>
      </p:sp>
      <p:sp>
        <p:nvSpPr>
          <p:cNvPr id="27" name="Text Placeholder 35">
            <a:extLst>
              <a:ext uri="{FF2B5EF4-FFF2-40B4-BE49-F238E27FC236}">
                <a16:creationId xmlns:a16="http://schemas.microsoft.com/office/drawing/2014/main" id="{CA95675E-327A-FF1F-B2AB-E6A799303B0E}"/>
              </a:ext>
            </a:extLst>
          </p:cNvPr>
          <p:cNvSpPr>
            <a:spLocks noGrp="1"/>
          </p:cNvSpPr>
          <p:nvPr>
            <p:ph type="body" sz="quarter" idx="22"/>
          </p:nvPr>
        </p:nvSpPr>
        <p:spPr>
          <a:xfrm>
            <a:off x="960009" y="5707198"/>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Tree>
    <p:extLst>
      <p:ext uri="{BB962C8B-B14F-4D97-AF65-F5344CB8AC3E}">
        <p14:creationId xmlns:p14="http://schemas.microsoft.com/office/powerpoint/2010/main" val="399426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82.xml><?xml version="1.0" encoding="utf-8"?>
<p:sldLayout xmlns:a="http://schemas.openxmlformats.org/drawingml/2006/main" xmlns:r="http://schemas.openxmlformats.org/officeDocument/2006/relationships" xmlns:p="http://schemas.openxmlformats.org/presentationml/2006/main" userDrawn="1">
  <p:cSld name="1_three column">
    <p:bg>
      <p:bgPr>
        <a:solidFill>
          <a:srgbClr val="FFFFFF"/>
        </a:solidFill>
        <a:effectLst/>
      </p:bgPr>
    </p:bg>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9A00E4B8-CEB3-B483-8084-0CB45D0B39DF}"/>
              </a:ext>
            </a:extLst>
          </p:cNvPr>
          <p:cNvSpPr>
            <a:spLocks noGrp="1"/>
          </p:cNvSpPr>
          <p:nvPr>
            <p:ph type="pic" sz="quarter" idx="19"/>
          </p:nvPr>
        </p:nvSpPr>
        <p:spPr>
          <a:xfrm>
            <a:off x="4587033" y="1511095"/>
            <a:ext cx="482096" cy="543111"/>
          </a:xfrm>
          <a:prstGeom prst="rect">
            <a:avLst/>
          </a:prstGeom>
        </p:spPr>
        <p:txBody>
          <a:bodyPr/>
          <a:lstStyle/>
          <a:p>
            <a:endParaRPr lang="en-GB"/>
          </a:p>
        </p:txBody>
      </p:sp>
      <p:sp>
        <p:nvSpPr>
          <p:cNvPr id="26" name="object 22">
            <a:extLst>
              <a:ext uri="{FF2B5EF4-FFF2-40B4-BE49-F238E27FC236}">
                <a16:creationId xmlns:a16="http://schemas.microsoft.com/office/drawing/2014/main" id="{78A5858E-C769-A11B-5873-B66759919939}"/>
              </a:ext>
            </a:extLst>
          </p:cNvPr>
          <p:cNvSpPr/>
          <p:nvPr userDrawn="1"/>
        </p:nvSpPr>
        <p:spPr>
          <a:xfrm>
            <a:off x="4247560" y="3375313"/>
            <a:ext cx="27724"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51879" y="3375313"/>
            <a:ext cx="46350"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8" name="Picture Placeholder 34">
            <a:extLst>
              <a:ext uri="{FF2B5EF4-FFF2-40B4-BE49-F238E27FC236}">
                <a16:creationId xmlns:a16="http://schemas.microsoft.com/office/drawing/2014/main" id="{E36C9282-1EDA-1F80-29A0-FEE2778546E0}"/>
              </a:ext>
            </a:extLst>
          </p:cNvPr>
          <p:cNvSpPr>
            <a:spLocks noGrp="1"/>
          </p:cNvSpPr>
          <p:nvPr>
            <p:ph type="pic" sz="quarter" idx="21"/>
          </p:nvPr>
        </p:nvSpPr>
        <p:spPr>
          <a:xfrm>
            <a:off x="8262416" y="1511022"/>
            <a:ext cx="482096" cy="543111"/>
          </a:xfrm>
          <a:prstGeom prst="rect">
            <a:avLst/>
          </a:prstGeom>
        </p:spPr>
        <p:txBody>
          <a:bodyPr/>
          <a:lstStyle/>
          <a:p>
            <a:endParaRPr lang="en-GB"/>
          </a:p>
        </p:txBody>
      </p:sp>
      <p:sp>
        <p:nvSpPr>
          <p:cNvPr id="29" name="Picture Placeholder 34">
            <a:extLst>
              <a:ext uri="{FF2B5EF4-FFF2-40B4-BE49-F238E27FC236}">
                <a16:creationId xmlns:a16="http://schemas.microsoft.com/office/drawing/2014/main" id="{167AFF17-7D7A-AAEA-E29A-982667C116D6}"/>
              </a:ext>
            </a:extLst>
          </p:cNvPr>
          <p:cNvSpPr>
            <a:spLocks noGrp="1"/>
          </p:cNvSpPr>
          <p:nvPr>
            <p:ph type="pic" sz="quarter" idx="22"/>
          </p:nvPr>
        </p:nvSpPr>
        <p:spPr>
          <a:xfrm>
            <a:off x="586775" y="1510950"/>
            <a:ext cx="482096" cy="543111"/>
          </a:xfrm>
          <a:prstGeom prst="rect">
            <a:avLst/>
          </a:prstGeom>
        </p:spPr>
        <p:txBody>
          <a:bodyPr/>
          <a:lstStyle/>
          <a:p>
            <a:endParaRPr lang="en-GB"/>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2261810"/>
            <a:ext cx="2987422" cy="813733"/>
          </a:xfrm>
          <a:prstGeom prst="rect">
            <a:avLst/>
          </a:prstGeom>
        </p:spPr>
        <p:txBody>
          <a:bodyPr lIns="0"/>
          <a:lstStyle>
            <a:lvl1pPr>
              <a:lnSpc>
                <a:spcPct val="90000"/>
              </a:lnSpc>
              <a:defRPr lang="en-GB" sz="5821"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2261811"/>
            <a:ext cx="2987422" cy="757275"/>
          </a:xfrm>
          <a:prstGeom prst="rect">
            <a:avLst/>
          </a:prstGeom>
        </p:spPr>
        <p:txBody>
          <a:bodyPr lIns="0"/>
          <a:lstStyle>
            <a:lvl1pPr>
              <a:lnSpc>
                <a:spcPts val="5701"/>
              </a:lnSpc>
              <a:defRPr lang="en-GB" sz="5821"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3353230"/>
            <a:ext cx="3325320"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3353229"/>
            <a:ext cx="2987422"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3353228"/>
            <a:ext cx="2987422"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87349530-C6CD-7B16-253D-AF41238D6664}"/>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Text Placeholder 8">
            <a:extLst>
              <a:ext uri="{FF2B5EF4-FFF2-40B4-BE49-F238E27FC236}">
                <a16:creationId xmlns:a16="http://schemas.microsoft.com/office/drawing/2014/main" id="{0F5D5893-5338-F751-A97F-AAB40E8A5F19}"/>
              </a:ext>
            </a:extLst>
          </p:cNvPr>
          <p:cNvSpPr>
            <a:spLocks noGrp="1"/>
          </p:cNvSpPr>
          <p:nvPr>
            <p:ph type="body" sz="quarter" idx="28" hasCustomPrompt="1"/>
          </p:nvPr>
        </p:nvSpPr>
        <p:spPr>
          <a:xfrm>
            <a:off x="586775" y="2261809"/>
            <a:ext cx="2987422" cy="813733"/>
          </a:xfrm>
          <a:prstGeom prst="rect">
            <a:avLst/>
          </a:prstGeom>
          <a:noFill/>
        </p:spPr>
        <p:txBody>
          <a:bodyPr lIns="0"/>
          <a:lstStyle>
            <a:lvl1pPr>
              <a:defRPr lang="en-GB" sz="5821" b="1" i="0" spc="-85" dirty="0">
                <a:gradFill flip="none" rotWithShape="1">
                  <a:gsLst>
                    <a:gs pos="0">
                      <a:srgbClr val="007C43"/>
                    </a:gs>
                    <a:gs pos="70000">
                      <a:srgbClr val="68A445"/>
                    </a:gs>
                  </a:gsLst>
                  <a:lin ang="0" scaled="1"/>
                  <a:tileRect/>
                </a:gradFill>
                <a:latin typeface="Poppins"/>
                <a:ea typeface="+mj-ea"/>
                <a:cs typeface="Poppins"/>
              </a:defRPr>
            </a:lvl1pPr>
          </a:lstStyle>
          <a:p>
            <a:pPr lvl="0">
              <a:lnSpc>
                <a:spcPct val="90000"/>
              </a:lnSpc>
            </a:pPr>
            <a:r>
              <a:rPr lang="en-GB"/>
              <a:t>edit</a:t>
            </a:r>
          </a:p>
        </p:txBody>
      </p:sp>
    </p:spTree>
    <p:extLst>
      <p:ext uri="{BB962C8B-B14F-4D97-AF65-F5344CB8AC3E}">
        <p14:creationId xmlns:p14="http://schemas.microsoft.com/office/powerpoint/2010/main" val="346640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332">
          <p15:clr>
            <a:srgbClr val="FBAE40"/>
          </p15:clr>
        </p15:guide>
        <p15:guide id="3" orient="horz" pos="977">
          <p15:clr>
            <a:srgbClr val="FBAE40"/>
          </p15:clr>
        </p15:guide>
        <p15:guide id="4" orient="horz" pos="358">
          <p15:clr>
            <a:srgbClr val="FBAE40"/>
          </p15:clr>
        </p15:guide>
        <p15:guide id="5" orient="horz" pos="659">
          <p15:clr>
            <a:srgbClr val="FBAE40"/>
          </p15:clr>
        </p15:guide>
      </p15:sldGuideLst>
    </p:ext>
  </p:extLst>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pPr defTabSz="554500"/>
            <a:fld id="{B6F15528-21DE-4FAA-801E-634DDDAF4B2B}" type="slidenum">
              <a:rPr lang="en-GB" smtClean="0"/>
              <a:pPr defTabSz="554500"/>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835439" y="733908"/>
            <a:ext cx="7848172" cy="1746189"/>
          </a:xfrm>
          <a:prstGeom prst="rect">
            <a:avLst/>
          </a:prstGeom>
        </p:spPr>
        <p:txBody>
          <a:bodyPr/>
          <a:lstStyle>
            <a:lvl1pPr>
              <a:lnSpc>
                <a:spcPct val="114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6575" y="2868555"/>
            <a:ext cx="7750287" cy="3875178"/>
          </a:xfrm>
          <a:prstGeom prst="rect">
            <a:avLst/>
          </a:prstGeom>
        </p:spPr>
      </p:pic>
    </p:spTree>
    <p:extLst>
      <p:ext uri="{BB962C8B-B14F-4D97-AF65-F5344CB8AC3E}">
        <p14:creationId xmlns:p14="http://schemas.microsoft.com/office/powerpoint/2010/main" val="25932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7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DF20CCF3-9156-D926-F84F-D470725DF3D2}"/>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8A82D6C9-0A3E-D4C7-84D3-41D2A71FD1C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13" name="Slide Number Placeholder 5">
            <a:extLst>
              <a:ext uri="{FF2B5EF4-FFF2-40B4-BE49-F238E27FC236}">
                <a16:creationId xmlns:a16="http://schemas.microsoft.com/office/drawing/2014/main" id="{8A57EA9F-2A47-A87E-1720-9E7CC05B1A7B}"/>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cxnSp>
        <p:nvCxnSpPr>
          <p:cNvPr id="16" name="Straight Connector 15">
            <a:extLst>
              <a:ext uri="{FF2B5EF4-FFF2-40B4-BE49-F238E27FC236}">
                <a16:creationId xmlns:a16="http://schemas.microsoft.com/office/drawing/2014/main" id="{A15E68E5-C053-520D-8A33-C485E1FE3A87}"/>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C6CC28E-78C3-C9D5-FF1F-A09A2F3B04BC}"/>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2" name="Picture 1" descr="A picture containing drawing, mug&#10;&#10;Description automatically generated">
            <a:extLst>
              <a:ext uri="{FF2B5EF4-FFF2-40B4-BE49-F238E27FC236}">
                <a16:creationId xmlns:a16="http://schemas.microsoft.com/office/drawing/2014/main" id="{82BB44BE-6B34-9AB0-FE5B-78F5DF030ED5}"/>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261503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343">
          <p15:clr>
            <a:srgbClr val="FBAE40"/>
          </p15:clr>
        </p15:guide>
        <p15:guide id="2" pos="322">
          <p15:clr>
            <a:srgbClr val="FBAE40"/>
          </p15:clr>
        </p15:guide>
      </p15:sldGuideLst>
    </p:ext>
  </p:extLst>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16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cxnSp>
        <p:nvCxnSpPr>
          <p:cNvPr id="6" name="Straight Connector 5">
            <a:extLst>
              <a:ext uri="{FF2B5EF4-FFF2-40B4-BE49-F238E27FC236}">
                <a16:creationId xmlns:a16="http://schemas.microsoft.com/office/drawing/2014/main" id="{77F2C252-69F3-8DE3-9263-99BEB7E1FC0C}"/>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BB9290D-B448-9B85-8A16-87F160654C5D}"/>
              </a:ext>
            </a:extLst>
          </p:cNvPr>
          <p:cNvPicPr>
            <a:picLocks noChangeAspect="1"/>
          </p:cNvPicPr>
          <p:nvPr userDrawn="1"/>
        </p:nvPicPr>
        <p:blipFill rotWithShape="1">
          <a:blip r:embed="rId3"/>
          <a:srcRect r="72014"/>
          <a:stretch/>
        </p:blipFill>
        <p:spPr>
          <a:xfrm>
            <a:off x="10858966" y="294851"/>
            <a:ext cx="998464" cy="559351"/>
          </a:xfrm>
          <a:prstGeom prst="rect">
            <a:avLst/>
          </a:prstGeom>
        </p:spPr>
      </p:pic>
      <p:pic>
        <p:nvPicPr>
          <p:cNvPr id="5" name="Picture 4" descr="A picture containing drawing, mug&#10;&#10;Description automatically generated">
            <a:extLst>
              <a:ext uri="{FF2B5EF4-FFF2-40B4-BE49-F238E27FC236}">
                <a16:creationId xmlns:a16="http://schemas.microsoft.com/office/drawing/2014/main" id="{2CD0FD93-5CA8-5164-8E5C-4199F697B90B}"/>
              </a:ext>
            </a:extLst>
          </p:cNvPr>
          <p:cNvPicPr>
            <a:picLocks/>
          </p:cNvPicPr>
          <p:nvPr userDrawn="1"/>
        </p:nvPicPr>
        <p:blipFill>
          <a:blip r:embed="rId4"/>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354772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4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572353-3B90-85FD-4207-F5B30A1939E0}"/>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cxnSp>
        <p:nvCxnSpPr>
          <p:cNvPr id="8" name="Straight Connector 7">
            <a:extLst>
              <a:ext uri="{FF2B5EF4-FFF2-40B4-BE49-F238E27FC236}">
                <a16:creationId xmlns:a16="http://schemas.microsoft.com/office/drawing/2014/main" id="{B9E7F049-44AC-9B69-2645-82E87F273F0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8D9852C-F9FC-63C9-C3FF-6FD59964BFEB}"/>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10" name="Picture 5">
            <a:extLst>
              <a:ext uri="{FF2B5EF4-FFF2-40B4-BE49-F238E27FC236}">
                <a16:creationId xmlns:a16="http://schemas.microsoft.com/office/drawing/2014/main" id="{3534F840-14E3-0D12-8D44-C595582B351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98240" y="387119"/>
            <a:ext cx="1841745" cy="348424"/>
          </a:xfrm>
          <a:prstGeom prst="rect">
            <a:avLst/>
          </a:prstGeom>
        </p:spPr>
      </p:pic>
    </p:spTree>
    <p:extLst>
      <p:ext uri="{BB962C8B-B14F-4D97-AF65-F5344CB8AC3E}">
        <p14:creationId xmlns:p14="http://schemas.microsoft.com/office/powerpoint/2010/main" val="52214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35_Chapter Start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4AA5843-B055-D998-F097-A1537764C5B5}"/>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507D203-0659-060B-A109-6C6D4F21CE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11" name="Picture 10" descr="BlackRock, Inc. - Home">
            <a:extLst>
              <a:ext uri="{FF2B5EF4-FFF2-40B4-BE49-F238E27FC236}">
                <a16:creationId xmlns:a16="http://schemas.microsoft.com/office/drawing/2014/main" id="{5EB5B61A-63A3-8E67-A9C0-1A8B438A66AF}"/>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302B3981-1619-9083-B073-5589483D10C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38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34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5A4006C-DF1B-E00E-4F89-DF22DA055E34}"/>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3" name="Picture 2">
            <a:extLst>
              <a:ext uri="{FF2B5EF4-FFF2-40B4-BE49-F238E27FC236}">
                <a16:creationId xmlns:a16="http://schemas.microsoft.com/office/drawing/2014/main" id="{5CD12995-9AB2-2DF7-6828-597238F4AD3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6AF04327-60CF-AAB0-564C-BA7F7C5B8EC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CA8D98F1-3011-C210-E119-381659C407AE}"/>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208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33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723453-4BF8-DC02-BA29-7239F7C6BE75}"/>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4" name="Picture 3">
            <a:extLst>
              <a:ext uri="{FF2B5EF4-FFF2-40B4-BE49-F238E27FC236}">
                <a16:creationId xmlns:a16="http://schemas.microsoft.com/office/drawing/2014/main" id="{E649B12E-9843-3F26-E012-97900259CF1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3EF1D38F-CB52-9161-2FB4-9EFE58765C9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D0A7E7A0-9F83-01E6-EA26-9AAA28796359}"/>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02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6080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32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5" name="Picture 4">
            <a:extLst>
              <a:ext uri="{FF2B5EF4-FFF2-40B4-BE49-F238E27FC236}">
                <a16:creationId xmlns:a16="http://schemas.microsoft.com/office/drawing/2014/main" id="{88411688-3C97-082E-3382-2D069C35F9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3445CC0D-823A-E6A3-01DF-768572D8A385}"/>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742C7914-BB17-F611-E2E9-FEB35C4A4F49}"/>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687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31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250C662-F84D-E37B-CD13-8305CD4496D2}"/>
              </a:ext>
            </a:extLst>
          </p:cNvPr>
          <p:cNvSpPr/>
          <p:nvPr userDrawn="1"/>
        </p:nvSpPr>
        <p:spPr>
          <a:xfrm>
            <a:off x="-168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A1B8654C-C46B-7C54-4A16-2009FD404D0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7" name="Picture 6" descr="BlackRock, Inc. - Home">
            <a:extLst>
              <a:ext uri="{FF2B5EF4-FFF2-40B4-BE49-F238E27FC236}">
                <a16:creationId xmlns:a16="http://schemas.microsoft.com/office/drawing/2014/main" id="{CF7BACAD-9822-4A4D-FAFA-EFA12FFF4C7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413342D2-F3E8-FE90-2140-4B722A98D04E}"/>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84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83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1" name="Oval 10">
            <a:extLst>
              <a:ext uri="{FF2B5EF4-FFF2-40B4-BE49-F238E27FC236}">
                <a16:creationId xmlns:a16="http://schemas.microsoft.com/office/drawing/2014/main" id="{E7C2BD54-B084-542F-B0DB-CE318B792B28}"/>
              </a:ext>
            </a:extLst>
          </p:cNvPr>
          <p:cNvSpPr/>
          <p:nvPr userDrawn="1"/>
        </p:nvSpPr>
        <p:spPr>
          <a:xfrm>
            <a:off x="5768254" y="1455291"/>
            <a:ext cx="654907" cy="65491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10" name="Graphic 9" descr="Boardroom with solid fill">
            <a:extLst>
              <a:ext uri="{FF2B5EF4-FFF2-40B4-BE49-F238E27FC236}">
                <a16:creationId xmlns:a16="http://schemas.microsoft.com/office/drawing/2014/main" id="{49B758D5-BD34-8ECC-568C-BA3AEB7F5E0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8756" y="1505501"/>
            <a:ext cx="554488" cy="554493"/>
          </a:xfrm>
          <a:prstGeom prst="rect">
            <a:avLst/>
          </a:prstGeom>
        </p:spPr>
      </p:pic>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ct 2" hidden="1"/>
                      <p:cNvPicPr/>
                      <p:nvPr/>
                    </p:nvPicPr>
                    <p:blipFill>
                      <a:blip r:embed="rId7"/>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EF8963E4-489E-8A1B-3A7D-4F87405F4B04}"/>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5795BC-755B-D3CF-7881-3A95DC81633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6EE80FDC-B1BC-B214-73E7-BE912ECED8F4}"/>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29" name="Slide Number Placeholder 5">
            <a:extLst>
              <a:ext uri="{FF2B5EF4-FFF2-40B4-BE49-F238E27FC236}">
                <a16:creationId xmlns:a16="http://schemas.microsoft.com/office/drawing/2014/main" id="{27972B21-43B1-B367-3A0A-7A6C98117CDA}"/>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pic>
        <p:nvPicPr>
          <p:cNvPr id="5" name="Picture 5">
            <a:extLst>
              <a:ext uri="{FF2B5EF4-FFF2-40B4-BE49-F238E27FC236}">
                <a16:creationId xmlns:a16="http://schemas.microsoft.com/office/drawing/2014/main" id="{B4765F46-99EA-EA78-F3AB-61548F32862F}"/>
              </a:ext>
              <a:ext uri="{C183D7F6-B498-43B3-948B-1728B52AA6E4}">
                <adec:decorative xmlns:adec="http://schemas.microsoft.com/office/drawing/2017/decorative" val="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898240" y="387119"/>
            <a:ext cx="1841745" cy="348424"/>
          </a:xfrm>
          <a:prstGeom prst="rect">
            <a:avLst/>
          </a:prstGeom>
        </p:spPr>
      </p:pic>
      <p:pic>
        <p:nvPicPr>
          <p:cNvPr id="9" name="Picture 8">
            <a:extLst>
              <a:ext uri="{FF2B5EF4-FFF2-40B4-BE49-F238E27FC236}">
                <a16:creationId xmlns:a16="http://schemas.microsoft.com/office/drawing/2014/main" id="{06C51664-BF7F-377E-824A-B63222420887}"/>
              </a:ext>
            </a:extLst>
          </p:cNvPr>
          <p:cNvPicPr>
            <a:picLocks noChangeAspect="1"/>
          </p:cNvPicPr>
          <p:nvPr userDrawn="1"/>
        </p:nvPicPr>
        <p:blipFill rotWithShape="1">
          <a:blip r:embed="rId9"/>
          <a:srcRect r="72014"/>
          <a:stretch/>
        </p:blipFill>
        <p:spPr>
          <a:xfrm>
            <a:off x="10858966" y="294851"/>
            <a:ext cx="998464" cy="559351"/>
          </a:xfrm>
          <a:prstGeom prst="rect">
            <a:avLst/>
          </a:prstGeom>
        </p:spPr>
      </p:pic>
    </p:spTree>
    <p:extLst>
      <p:ext uri="{BB962C8B-B14F-4D97-AF65-F5344CB8AC3E}">
        <p14:creationId xmlns:p14="http://schemas.microsoft.com/office/powerpoint/2010/main" val="2718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173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cxnSp>
        <p:nvCxnSpPr>
          <p:cNvPr id="25" name="Straight Connector 24">
            <a:extLst>
              <a:ext uri="{FF2B5EF4-FFF2-40B4-BE49-F238E27FC236}">
                <a16:creationId xmlns:a16="http://schemas.microsoft.com/office/drawing/2014/main" id="{DEDAE957-4378-A9F8-A5F3-27F26CFEEE94}"/>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0C56207A-A9EF-0BEA-FFB0-EFD3361D7F3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29" name="Picture 28" descr="BlackRock, Inc. - Home">
            <a:extLst>
              <a:ext uri="{FF2B5EF4-FFF2-40B4-BE49-F238E27FC236}">
                <a16:creationId xmlns:a16="http://schemas.microsoft.com/office/drawing/2014/main" id="{D9135081-BA53-3B82-1994-72288F0F6C32}"/>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a:extLst>
              <a:ext uri="{FF2B5EF4-FFF2-40B4-BE49-F238E27FC236}">
                <a16:creationId xmlns:a16="http://schemas.microsoft.com/office/drawing/2014/main" id="{9201F383-20DB-6D63-70D0-4DCF814199C2}"/>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Slide Number Placeholder 5">
            <a:extLst>
              <a:ext uri="{FF2B5EF4-FFF2-40B4-BE49-F238E27FC236}">
                <a16:creationId xmlns:a16="http://schemas.microsoft.com/office/drawing/2014/main" id="{711CEE0A-66EA-E150-4D19-45A96DC4072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35" name="Slide Number Placeholder 5">
            <a:extLst>
              <a:ext uri="{FF2B5EF4-FFF2-40B4-BE49-F238E27FC236}">
                <a16:creationId xmlns:a16="http://schemas.microsoft.com/office/drawing/2014/main" id="{FE1FE784-B03D-27C0-E624-9A625A809C70}"/>
              </a:ext>
            </a:extLst>
          </p:cNvPr>
          <p:cNvSpPr txBox="1">
            <a:spLocks/>
          </p:cNvSpPr>
          <p:nvPr userDrawn="1"/>
        </p:nvSpPr>
        <p:spPr>
          <a:xfrm>
            <a:off x="319626"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l"/>
            <a:r>
              <a:rPr lang="en-GB" sz="970">
                <a:latin typeface="Poppins" panose="00000500000000000000" pitchFamily="2" charset="0"/>
                <a:cs typeface="Poppins" panose="00000500000000000000" pitchFamily="2" charset="0"/>
              </a:rPr>
              <a:t>28 March 2023</a:t>
            </a:r>
          </a:p>
        </p:txBody>
      </p:sp>
      <p:sp>
        <p:nvSpPr>
          <p:cNvPr id="36" name="Slide Number Placeholder 5">
            <a:extLst>
              <a:ext uri="{FF2B5EF4-FFF2-40B4-BE49-F238E27FC236}">
                <a16:creationId xmlns:a16="http://schemas.microsoft.com/office/drawing/2014/main" id="{30D24574-4C69-ECCD-F677-B33CA2F7E153}"/>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spTree>
    <p:extLst>
      <p:ext uri="{BB962C8B-B14F-4D97-AF65-F5344CB8AC3E}">
        <p14:creationId xmlns:p14="http://schemas.microsoft.com/office/powerpoint/2010/main" val="313036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9_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white right half">
            <a:extLst>
              <a:ext uri="{FF2B5EF4-FFF2-40B4-BE49-F238E27FC236}">
                <a16:creationId xmlns:a16="http://schemas.microsoft.com/office/drawing/2014/main" id="{747CFB75-7D71-23BC-3385-9E2DF23DDCC2}"/>
              </a:ext>
            </a:extLst>
          </p:cNvPr>
          <p:cNvSpPr/>
          <p:nvPr/>
        </p:nvSpPr>
        <p:spPr>
          <a:xfrm>
            <a:off x="8131576" y="1534099"/>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7" y="1534484"/>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966336"/>
            <a:ext cx="3130547"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4" y="2661046"/>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7" y="1840379"/>
            <a:ext cx="3096045"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4" y="1840379"/>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4" y="297553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4" y="367761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4" y="399210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4" y="469418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4" y="5008679"/>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4" y="5710758"/>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4" y="602524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48349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6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 name="Straight Connector 1">
            <a:extLst>
              <a:ext uri="{FF2B5EF4-FFF2-40B4-BE49-F238E27FC236}">
                <a16:creationId xmlns:a16="http://schemas.microsoft.com/office/drawing/2014/main" id="{34AE5EE2-69A9-C49B-80FB-D8A1465DBA9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B3E38699-A0BF-B517-AB6A-3FF2A7EC7CB4}"/>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5" name="Picture 4" descr="A picture containing drawing, mug&#10;&#10;Description automatically generated">
            <a:extLst>
              <a:ext uri="{FF2B5EF4-FFF2-40B4-BE49-F238E27FC236}">
                <a16:creationId xmlns:a16="http://schemas.microsoft.com/office/drawing/2014/main" id="{09B320F9-544C-BA8B-D64C-0392C864CFA7}"/>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37035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5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DF20CCF3-9156-D926-F84F-D470725DF3D2}"/>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8A82D6C9-0A3E-D4C7-84D3-41D2A71FD1C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13" name="Slide Number Placeholder 5">
            <a:extLst>
              <a:ext uri="{FF2B5EF4-FFF2-40B4-BE49-F238E27FC236}">
                <a16:creationId xmlns:a16="http://schemas.microsoft.com/office/drawing/2014/main" id="{8A57EA9F-2A47-A87E-1720-9E7CC05B1A7B}"/>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cxnSp>
        <p:nvCxnSpPr>
          <p:cNvPr id="2" name="Straight Connector 1">
            <a:extLst>
              <a:ext uri="{FF2B5EF4-FFF2-40B4-BE49-F238E27FC236}">
                <a16:creationId xmlns:a16="http://schemas.microsoft.com/office/drawing/2014/main" id="{42B37B67-71CA-9EA2-6952-ED18760542A7}"/>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29AE0642-5C5E-5B31-0504-8A8BC4F438FC}"/>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8" name="Picture 7" descr="A picture containing drawing, mug&#10;&#10;Description automatically generated">
            <a:extLst>
              <a:ext uri="{FF2B5EF4-FFF2-40B4-BE49-F238E27FC236}">
                <a16:creationId xmlns:a16="http://schemas.microsoft.com/office/drawing/2014/main" id="{B3F64468-525F-3AC2-90BC-0372AC1E7998}"/>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49247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343">
          <p15:clr>
            <a:srgbClr val="FBAE40"/>
          </p15:clr>
        </p15:guide>
        <p15:guide id="2" pos="322">
          <p15:clr>
            <a:srgbClr val="FBAE40"/>
          </p15:clr>
        </p15:guide>
      </p15:sldGuideLst>
    </p:ext>
  </p:extLst>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10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cxnSp>
        <p:nvCxnSpPr>
          <p:cNvPr id="4" name="Straight Connector 3">
            <a:extLst>
              <a:ext uri="{FF2B5EF4-FFF2-40B4-BE49-F238E27FC236}">
                <a16:creationId xmlns:a16="http://schemas.microsoft.com/office/drawing/2014/main" id="{8A97B7C6-1D77-928C-B9D7-4E6DDD7E41BA}"/>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4EA1D04-2796-ADBD-8FFE-68D7D4CF8AA5}"/>
              </a:ext>
            </a:extLst>
          </p:cNvPr>
          <p:cNvPicPr>
            <a:picLocks noChangeAspect="1"/>
          </p:cNvPicPr>
          <p:nvPr userDrawn="1"/>
        </p:nvPicPr>
        <p:blipFill rotWithShape="1">
          <a:blip r:embed="rId3"/>
          <a:srcRect r="72014"/>
          <a:stretch/>
        </p:blipFill>
        <p:spPr>
          <a:xfrm>
            <a:off x="10858966" y="294851"/>
            <a:ext cx="998464" cy="559351"/>
          </a:xfrm>
          <a:prstGeom prst="rect">
            <a:avLst/>
          </a:prstGeom>
        </p:spPr>
      </p:pic>
      <p:pic>
        <p:nvPicPr>
          <p:cNvPr id="7" name="Picture 6" descr="A picture containing drawing, mug&#10;&#10;Description automatically generated">
            <a:extLst>
              <a:ext uri="{FF2B5EF4-FFF2-40B4-BE49-F238E27FC236}">
                <a16:creationId xmlns:a16="http://schemas.microsoft.com/office/drawing/2014/main" id="{70D0EFBC-0F13-5858-43C9-D04F7D1FB06B}"/>
              </a:ext>
            </a:extLst>
          </p:cNvPr>
          <p:cNvPicPr>
            <a:picLocks/>
          </p:cNvPicPr>
          <p:nvPr userDrawn="1"/>
        </p:nvPicPr>
        <p:blipFill>
          <a:blip r:embed="rId4"/>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419213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2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572353-3B90-85FD-4207-F5B30A1939E0}"/>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cxnSp>
        <p:nvCxnSpPr>
          <p:cNvPr id="11" name="Straight Connector 10">
            <a:extLst>
              <a:ext uri="{FF2B5EF4-FFF2-40B4-BE49-F238E27FC236}">
                <a16:creationId xmlns:a16="http://schemas.microsoft.com/office/drawing/2014/main" id="{C5B336BB-22E4-47A8-AE0D-F7A52D92737F}"/>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76AD7FB-052E-EE01-3074-4EE3944F7F54}"/>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15" name="Picture 14" descr="A close up of a logo&#10;&#10;Description automatically generated">
            <a:extLst>
              <a:ext uri="{FF2B5EF4-FFF2-40B4-BE49-F238E27FC236}">
                <a16:creationId xmlns:a16="http://schemas.microsoft.com/office/drawing/2014/main" id="{EBE82C06-FCD7-EF65-7876-E84BD8F5346C}"/>
              </a:ext>
            </a:extLst>
          </p:cNvPr>
          <p:cNvPicPr>
            <a:picLocks noChangeAspect="1"/>
          </p:cNvPicPr>
          <p:nvPr userDrawn="1"/>
        </p:nvPicPr>
        <p:blipFill>
          <a:blip r:embed="rId3"/>
          <a:stretch>
            <a:fillRect/>
          </a:stretch>
        </p:blipFill>
        <p:spPr>
          <a:xfrm>
            <a:off x="8993547" y="316434"/>
            <a:ext cx="1600157" cy="516184"/>
          </a:xfrm>
          <a:prstGeom prst="rect">
            <a:avLst/>
          </a:prstGeom>
        </p:spPr>
      </p:pic>
    </p:spTree>
    <p:extLst>
      <p:ext uri="{BB962C8B-B14F-4D97-AF65-F5344CB8AC3E}">
        <p14:creationId xmlns:p14="http://schemas.microsoft.com/office/powerpoint/2010/main" val="333212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100000"/>
              </a:lnSpc>
              <a:defRPr lang="en-GB" sz="5306"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731139"/>
            <a:ext cx="4944575" cy="755463"/>
          </a:xfrm>
          <a:prstGeom prst="rect">
            <a:avLst/>
          </a:prstGeom>
        </p:spPr>
        <p:txBody>
          <a:bodyPr vert="horz" wrap="square" lIns="0" tIns="16510" rIns="0" bIns="0" rtlCol="0">
            <a:spAutoFit/>
          </a:bodyPr>
          <a:lstStyle>
            <a:lvl1pPr>
              <a:lnSpc>
                <a:spcPct val="100000"/>
              </a:lnSpc>
              <a:defRPr lang="en-GB" sz="5307" b="1" i="0" spc="0" dirty="0">
                <a:solidFill>
                  <a:schemeClr val="tx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83388"/>
            <a:ext cx="4964882" cy="240579"/>
          </a:xfrm>
          <a:prstGeom prst="rect">
            <a:avLst/>
          </a:prstGeom>
        </p:spPr>
        <p:txBody>
          <a:bodyPr vert="horz" wrap="square" lIns="0" tIns="16510" rIns="0" bIns="0" rtlCol="0">
            <a:spAutoFit/>
          </a:bodyPr>
          <a:lstStyle>
            <a:lvl1pPr>
              <a:defRPr lang="en-US" sz="1455"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978349"/>
            <a:ext cx="4964882" cy="203325"/>
          </a:xfrm>
          <a:prstGeom prst="rect">
            <a:avLst/>
          </a:prstGeom>
        </p:spPr>
        <p:txBody>
          <a:bodyPr vert="horz" wrap="square" lIns="0" tIns="16510" rIns="0" bIns="0" rtlCol="0">
            <a:spAutoFit/>
          </a:bodyPr>
          <a:lstStyle>
            <a:lvl1pPr>
              <a:defRPr lang="en-US" sz="1213"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9904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411E42E-5E4F-CE05-9E7F-0BB79C75FD76}"/>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46866002-822D-8448-5C0E-4A683488F5E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AEB4DD8-1C49-964F-4A0B-2C15A19BC6E1}"/>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49125E0D-8AFD-B224-B34E-D3ABC9206E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4D41FD-307B-BE23-3A99-29D7C726122C}"/>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42406385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2085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0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pSp>
        <p:nvGrpSpPr>
          <p:cNvPr id="20" name="Group 19" descr="Subtitle">
            <a:extLst>
              <a:ext uri="{FF2B5EF4-FFF2-40B4-BE49-F238E27FC236}">
                <a16:creationId xmlns:a16="http://schemas.microsoft.com/office/drawing/2014/main" id="{AF32C9A6-F465-4AFD-8A55-BF8D7238331D}"/>
              </a:ext>
            </a:extLst>
          </p:cNvPr>
          <p:cNvGrpSpPr/>
          <p:nvPr userDrawn="1"/>
        </p:nvGrpSpPr>
        <p:grpSpPr>
          <a:xfrm>
            <a:off x="0" y="-2371"/>
            <a:ext cx="12192000" cy="6860372"/>
            <a:chOff x="0" y="-1779"/>
            <a:chExt cx="9144000" cy="5145279"/>
          </a:xfrm>
        </p:grpSpPr>
        <p:sp>
          <p:nvSpPr>
            <p:cNvPr id="11" name="Rectangle 10">
              <a:extLst>
                <a:ext uri="{FF2B5EF4-FFF2-40B4-BE49-F238E27FC236}">
                  <a16:creationId xmlns:a16="http://schemas.microsoft.com/office/drawing/2014/main" id="{5BED3732-535E-4635-B982-6088BC8CA092}"/>
                </a:ext>
              </a:extLst>
            </p:cNvPr>
            <p:cNvSpPr/>
            <p:nvPr userDrawn="1"/>
          </p:nvSpPr>
          <p:spPr bwMode="auto">
            <a:xfrm>
              <a:off x="0" y="1"/>
              <a:ext cx="9143999" cy="5143499"/>
            </a:xfrm>
            <a:prstGeom prst="rect">
              <a:avLst/>
            </a:prstGeom>
            <a:gradFill flip="none" rotWithShape="1">
              <a:gsLst>
                <a:gs pos="28000">
                  <a:schemeClr val="accent2">
                    <a:lumMod val="100000"/>
                  </a:schemeClr>
                </a:gs>
                <a:gs pos="71000">
                  <a:schemeClr val="accent3"/>
                </a:gs>
              </a:gsLst>
              <a:lin ang="18900000" scaled="1"/>
              <a:tileRect/>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endParaRPr lang="en-US" sz="1800">
                <a:solidFill>
                  <a:srgbClr val="000000"/>
                </a:solidFill>
              </a:endParaRPr>
            </a:p>
          </p:txBody>
        </p:sp>
        <p:pic>
          <p:nvPicPr>
            <p:cNvPr id="12" name="Picture 11" descr="large-chevron-01.png">
              <a:extLst>
                <a:ext uri="{FF2B5EF4-FFF2-40B4-BE49-F238E27FC236}">
                  <a16:creationId xmlns:a16="http://schemas.microsoft.com/office/drawing/2014/main" id="{4E04C9E6-3158-437D-9B05-78CE8F96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4239" y="-1779"/>
              <a:ext cx="6839761" cy="5143500"/>
            </a:xfrm>
            <a:prstGeom prst="rect">
              <a:avLst/>
            </a:prstGeom>
          </p:spPr>
        </p:pic>
      </p:grpSp>
      <p:pic>
        <p:nvPicPr>
          <p:cNvPr id="13" name="Picture 12" descr="A close up of a logo&#10;&#10;Description automatically generated">
            <a:extLst>
              <a:ext uri="{FF2B5EF4-FFF2-40B4-BE49-F238E27FC236}">
                <a16:creationId xmlns:a16="http://schemas.microsoft.com/office/drawing/2014/main" id="{E869EDC2-CA41-456F-ABF6-E77476A51A35}"/>
              </a:ext>
            </a:extLst>
          </p:cNvPr>
          <p:cNvPicPr>
            <a:picLocks noChangeAspect="1"/>
          </p:cNvPicPr>
          <p:nvPr userDrawn="1"/>
        </p:nvPicPr>
        <p:blipFill>
          <a:blip r:embed="rId3"/>
          <a:stretch>
            <a:fillRect/>
          </a:stretch>
        </p:blipFill>
        <p:spPr>
          <a:xfrm>
            <a:off x="10231885" y="6231083"/>
            <a:ext cx="1433068" cy="462280"/>
          </a:xfrm>
          <a:prstGeom prst="rect">
            <a:avLst/>
          </a:prstGeom>
        </p:spPr>
      </p:pic>
      <p:sp>
        <p:nvSpPr>
          <p:cNvPr id="19" name="Text Placeholder 18" descr="Title">
            <a:extLst>
              <a:ext uri="{FF2B5EF4-FFF2-40B4-BE49-F238E27FC236}">
                <a16:creationId xmlns:a16="http://schemas.microsoft.com/office/drawing/2014/main" id="{9FDA6ECD-66FD-4EF8-9A2B-A7C4BCD6B445}"/>
              </a:ext>
            </a:extLst>
          </p:cNvPr>
          <p:cNvSpPr>
            <a:spLocks noGrp="1"/>
          </p:cNvSpPr>
          <p:nvPr>
            <p:ph type="body" sz="quarter" idx="10" hasCustomPrompt="1"/>
          </p:nvPr>
        </p:nvSpPr>
        <p:spPr>
          <a:xfrm>
            <a:off x="541759" y="2554246"/>
            <a:ext cx="8337551" cy="359833"/>
          </a:xfrm>
        </p:spPr>
        <p:txBody>
          <a:bodyPr anchor="ctr" anchorCtr="0"/>
          <a:lstStyle>
            <a:lvl1pPr marL="0" indent="0">
              <a:buNone/>
              <a:defRPr sz="2250" b="1" cap="all" baseline="0">
                <a:solidFill>
                  <a:schemeClr val="bg1"/>
                </a:solidFill>
              </a:defRPr>
            </a:lvl1pPr>
          </a:lstStyle>
          <a:p>
            <a:pPr lvl="0"/>
            <a:r>
              <a:rPr lang="en-US"/>
              <a:t>Click here to enter Title</a:t>
            </a:r>
            <a:endParaRPr lang="en-GB"/>
          </a:p>
        </p:txBody>
      </p:sp>
      <p:sp>
        <p:nvSpPr>
          <p:cNvPr id="22" name="Text Placeholder 21">
            <a:extLst>
              <a:ext uri="{FF2B5EF4-FFF2-40B4-BE49-F238E27FC236}">
                <a16:creationId xmlns:a16="http://schemas.microsoft.com/office/drawing/2014/main" id="{7AAE1D75-A6EB-46F9-B60A-574B3D29E0C7}"/>
              </a:ext>
            </a:extLst>
          </p:cNvPr>
          <p:cNvSpPr>
            <a:spLocks noGrp="1"/>
          </p:cNvSpPr>
          <p:nvPr>
            <p:ph type="body" sz="quarter" idx="11" hasCustomPrompt="1"/>
          </p:nvPr>
        </p:nvSpPr>
        <p:spPr>
          <a:xfrm>
            <a:off x="541758" y="2925253"/>
            <a:ext cx="7858503" cy="360000"/>
          </a:xfrm>
        </p:spPr>
        <p:txBody>
          <a:bodyPr/>
          <a:lstStyle>
            <a:lvl1pPr marL="0" indent="0">
              <a:buNone/>
              <a:defRPr sz="2250" cap="all" baseline="0">
                <a:solidFill>
                  <a:schemeClr val="bg1"/>
                </a:solidFill>
              </a:defRPr>
            </a:lvl1pPr>
          </a:lstStyle>
          <a:p>
            <a:pPr lvl="0"/>
            <a:r>
              <a:rPr lang="en-GB"/>
              <a:t>Click here to enter SUBTITLE</a:t>
            </a:r>
          </a:p>
        </p:txBody>
      </p:sp>
      <p:sp>
        <p:nvSpPr>
          <p:cNvPr id="25" name="Text Placeholder 24">
            <a:extLst>
              <a:ext uri="{FF2B5EF4-FFF2-40B4-BE49-F238E27FC236}">
                <a16:creationId xmlns:a16="http://schemas.microsoft.com/office/drawing/2014/main" id="{1F89D9E5-AACB-4734-9A40-F9519E651D8C}"/>
              </a:ext>
            </a:extLst>
          </p:cNvPr>
          <p:cNvSpPr>
            <a:spLocks noGrp="1"/>
          </p:cNvSpPr>
          <p:nvPr>
            <p:ph type="body" sz="quarter" idx="12" hasCustomPrompt="1"/>
          </p:nvPr>
        </p:nvSpPr>
        <p:spPr>
          <a:xfrm>
            <a:off x="527053" y="4252268"/>
            <a:ext cx="4705349" cy="312000"/>
          </a:xfrm>
        </p:spPr>
        <p:txBody>
          <a:bodyPr/>
          <a:lstStyle>
            <a:lvl1pPr marL="0" indent="0">
              <a:buNone/>
              <a:defRPr sz="1500" b="1">
                <a:solidFill>
                  <a:schemeClr val="bg1"/>
                </a:solidFill>
              </a:defRPr>
            </a:lvl1pPr>
          </a:lstStyle>
          <a:p>
            <a:pPr lvl="0"/>
            <a:r>
              <a:rPr lang="en-GB"/>
              <a:t>Click here to enter Presentation Author</a:t>
            </a:r>
          </a:p>
        </p:txBody>
      </p:sp>
      <p:sp>
        <p:nvSpPr>
          <p:cNvPr id="27" name="Text Placeholder 26">
            <a:extLst>
              <a:ext uri="{FF2B5EF4-FFF2-40B4-BE49-F238E27FC236}">
                <a16:creationId xmlns:a16="http://schemas.microsoft.com/office/drawing/2014/main" id="{09D7C18C-91A4-4C2F-94B1-763ED419B335}"/>
              </a:ext>
            </a:extLst>
          </p:cNvPr>
          <p:cNvSpPr>
            <a:spLocks noGrp="1"/>
          </p:cNvSpPr>
          <p:nvPr>
            <p:ph type="body" sz="quarter" idx="13" hasCustomPrompt="1"/>
          </p:nvPr>
        </p:nvSpPr>
        <p:spPr>
          <a:xfrm>
            <a:off x="527053" y="4587168"/>
            <a:ext cx="4705349" cy="312000"/>
          </a:xfrm>
        </p:spPr>
        <p:txBody>
          <a:bodyPr/>
          <a:lstStyle>
            <a:lvl1pPr marL="0" indent="0">
              <a:buNone/>
              <a:defRPr sz="1500">
                <a:solidFill>
                  <a:schemeClr val="bg1"/>
                </a:solidFill>
              </a:defRPr>
            </a:lvl1pPr>
          </a:lstStyle>
          <a:p>
            <a:pPr lvl="0"/>
            <a:r>
              <a:rPr lang="en-GB"/>
              <a:t>Click here to enter Date</a:t>
            </a:r>
          </a:p>
        </p:txBody>
      </p:sp>
      <p:sp>
        <p:nvSpPr>
          <p:cNvPr id="14" name="Footer Placeholder 5">
            <a:extLst>
              <a:ext uri="{FF2B5EF4-FFF2-40B4-BE49-F238E27FC236}">
                <a16:creationId xmlns:a16="http://schemas.microsoft.com/office/drawing/2014/main" id="{CF3399CA-77E3-45E9-97B1-F6F8D1B71A36}"/>
              </a:ext>
            </a:extLst>
          </p:cNvPr>
          <p:cNvSpPr>
            <a:spLocks noGrp="1"/>
          </p:cNvSpPr>
          <p:nvPr>
            <p:ph type="ftr" sz="quarter" idx="14"/>
          </p:nvPr>
        </p:nvSpPr>
        <p:spPr>
          <a:xfrm>
            <a:off x="527050" y="6462223"/>
            <a:ext cx="1152459" cy="177516"/>
          </a:xfrm>
          <a:prstGeom prst="rect">
            <a:avLst/>
          </a:prstGeom>
        </p:spPr>
        <p:txBody>
          <a:bodyPr anchor="ctr"/>
          <a:lstStyle>
            <a:lvl1pPr algn="l">
              <a:defRPr sz="800">
                <a:solidFill>
                  <a:schemeClr val="bg1"/>
                </a:solidFill>
              </a:defRPr>
            </a:lvl1pPr>
          </a:lstStyle>
          <a:p>
            <a:r>
              <a:rPr lang="en-GB"/>
              <a:t>Confidential</a:t>
            </a:r>
          </a:p>
        </p:txBody>
      </p:sp>
    </p:spTree>
    <p:extLst>
      <p:ext uri="{BB962C8B-B14F-4D97-AF65-F5344CB8AC3E}">
        <p14:creationId xmlns:p14="http://schemas.microsoft.com/office/powerpoint/2010/main" val="4171153361"/>
      </p:ext>
    </p:extLst>
  </p:cSld>
  <p:clrMapOvr>
    <a:overrideClrMapping bg1="lt1" tx1="dk1" bg2="lt2" tx2="dk2" accent1="accent1" accent2="accent2" accent3="accent3" accent4="accent4" accent5="accent5" accent6="accent6" hlink="hlink" folHlink="folHlink"/>
  </p:clrMapOvr>
  <p:transition spd="med">
    <p:fade thruBlk="1"/>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showMasterSp="0" userDrawn="1">
  <p:cSld name="2_Contents">
    <p:spTree>
      <p:nvGrpSpPr>
        <p:cNvPr id="1" name=""/>
        <p:cNvGrpSpPr/>
        <p:nvPr/>
      </p:nvGrpSpPr>
      <p:grpSpPr>
        <a:xfrm>
          <a:off x="0" y="0"/>
          <a:ext cx="0" cy="0"/>
          <a:chOff x="0" y="0"/>
          <a:chExt cx="0" cy="0"/>
        </a:xfrm>
      </p:grpSpPr>
      <p:pic>
        <p:nvPicPr>
          <p:cNvPr id="4" name="Picture 3" descr="A picture containing drawing, mug&#10;&#10;Description automatically generated">
            <a:extLst>
              <a:ext uri="{FF2B5EF4-FFF2-40B4-BE49-F238E27FC236}">
                <a16:creationId xmlns:a16="http://schemas.microsoft.com/office/drawing/2014/main" id="{B804DEA5-3DA9-CCE9-8491-89C0C5C69FE5}"/>
              </a:ext>
            </a:extLst>
          </p:cNvPr>
          <p:cNvPicPr>
            <a:picLocks noChangeAspect="1"/>
          </p:cNvPicPr>
          <p:nvPr userDrawn="1"/>
        </p:nvPicPr>
        <p:blipFill>
          <a:blip r:embed="rId2"/>
          <a:stretch>
            <a:fillRect/>
          </a:stretch>
        </p:blipFill>
        <p:spPr>
          <a:xfrm>
            <a:off x="10426567" y="232915"/>
            <a:ext cx="1469415" cy="419893"/>
          </a:xfrm>
          <a:prstGeom prst="rect">
            <a:avLst/>
          </a:prstGeom>
        </p:spPr>
      </p:pic>
      <p:sp>
        <p:nvSpPr>
          <p:cNvPr id="2" name="Title 1">
            <a:extLst>
              <a:ext uri="{FF2B5EF4-FFF2-40B4-BE49-F238E27FC236}">
                <a16:creationId xmlns:a16="http://schemas.microsoft.com/office/drawing/2014/main" id="{AA52A056-5A3D-DC7C-961A-9FDE252DA6E9}"/>
              </a:ext>
            </a:extLst>
          </p:cNvPr>
          <p:cNvSpPr>
            <a:spLocks noGrp="1"/>
          </p:cNvSpPr>
          <p:nvPr>
            <p:ph type="title" hasCustomPrompt="1"/>
          </p:nvPr>
        </p:nvSpPr>
        <p:spPr>
          <a:xfrm>
            <a:off x="330375" y="321169"/>
            <a:ext cx="9504000" cy="615553"/>
          </a:xfrm>
        </p:spPr>
        <p:txBody>
          <a:bodyPr lIns="0" tIns="0" rIns="0" bIns="0"/>
          <a:lstStyle>
            <a:lvl1pPr>
              <a:defRPr sz="2000">
                <a:latin typeface="+mj-lt"/>
              </a:defRPr>
            </a:lvl1pPr>
          </a:lstStyle>
          <a:p>
            <a:r>
              <a:rPr lang="en-US"/>
              <a:t>Click to edit Master title style</a:t>
            </a:r>
            <a:br>
              <a:rPr lang="en-US"/>
            </a:br>
            <a:endParaRPr lang="en-GB"/>
          </a:p>
        </p:txBody>
      </p:sp>
      <p:cxnSp>
        <p:nvCxnSpPr>
          <p:cNvPr id="6" name="Straight Connector 5">
            <a:extLst>
              <a:ext uri="{FF2B5EF4-FFF2-40B4-BE49-F238E27FC236}">
                <a16:creationId xmlns:a16="http://schemas.microsoft.com/office/drawing/2014/main" id="{49D37C82-4E9E-148A-8BC5-2FF27BA21DFC}"/>
              </a:ext>
            </a:extLst>
          </p:cNvPr>
          <p:cNvCxnSpPr>
            <a:cxnSpLocks/>
          </p:cNvCxnSpPr>
          <p:nvPr userDrawn="1"/>
        </p:nvCxnSpPr>
        <p:spPr bwMode="auto">
          <a:xfrm>
            <a:off x="330376" y="1056439"/>
            <a:ext cx="11565606" cy="0"/>
          </a:xfrm>
          <a:prstGeom prst="line">
            <a:avLst/>
          </a:prstGeom>
          <a:solidFill>
            <a:schemeClr val="accent1"/>
          </a:solidFill>
          <a:ln w="19050" cap="flat" cmpd="sng" algn="ctr">
            <a:solidFill>
              <a:schemeClr val="accent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3" name="Footer Placeholder 2">
            <a:extLst>
              <a:ext uri="{FF2B5EF4-FFF2-40B4-BE49-F238E27FC236}">
                <a16:creationId xmlns:a16="http://schemas.microsoft.com/office/drawing/2014/main" id="{486AA172-C6EE-7C3E-8022-BBB96E1471DE}"/>
              </a:ext>
            </a:extLst>
          </p:cNvPr>
          <p:cNvSpPr>
            <a:spLocks noGrp="1"/>
          </p:cNvSpPr>
          <p:nvPr>
            <p:ph type="ftr" sz="quarter" idx="10"/>
          </p:nvPr>
        </p:nvSpPr>
        <p:spPr>
          <a:xfrm>
            <a:off x="527052" y="6485755"/>
            <a:ext cx="1152459" cy="177516"/>
          </a:xfrm>
          <a:prstGeom prst="rect">
            <a:avLst/>
          </a:prstGeom>
        </p:spPr>
        <p:txBody>
          <a:bodyPr/>
          <a:lstStyle/>
          <a:p>
            <a:r>
              <a:rPr lang="en-GB"/>
              <a:t>Confidential</a:t>
            </a:r>
          </a:p>
        </p:txBody>
      </p:sp>
    </p:spTree>
    <p:extLst>
      <p:ext uri="{BB962C8B-B14F-4D97-AF65-F5344CB8AC3E}">
        <p14:creationId xmlns:p14="http://schemas.microsoft.com/office/powerpoint/2010/main" val="2519832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26">
          <p15:clr>
            <a:srgbClr val="FBAE40"/>
          </p15:clr>
        </p15:guide>
        <p15:guide id="2" pos="202">
          <p15:clr>
            <a:srgbClr val="FBAE40"/>
          </p15:clr>
        </p15:guide>
        <p15:guide id="3" pos="4496">
          <p15:clr>
            <a:srgbClr val="FBAE40"/>
          </p15:clr>
        </p15:guide>
        <p15:guide id="4" orient="horz" pos="690">
          <p15:clr>
            <a:srgbClr val="FBAE40"/>
          </p15:clr>
        </p15:guide>
      </p15:sldGuideLst>
    </p:ext>
  </p:extLst>
</p:sldLayout>
</file>

<file path=ppt/slideLayouts/slideLayout1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B744A-31A5-98E7-5CDB-AE11F3F0D930}"/>
              </a:ext>
            </a:extLst>
          </p:cNvPr>
          <p:cNvSpPr>
            <a:spLocks noGrp="1"/>
          </p:cNvSpPr>
          <p:nvPr>
            <p:ph type="title"/>
          </p:nvPr>
        </p:nvSpPr>
        <p:spPr/>
        <p:txBody>
          <a:bodyPr/>
          <a:lstStyle/>
          <a:p>
            <a:r>
              <a:rPr lang="en-GB"/>
              <a:t>Click to edit Master title style</a:t>
            </a:r>
          </a:p>
        </p:txBody>
      </p:sp>
      <p:sp>
        <p:nvSpPr>
          <p:cNvPr id="5" name="TextBox 4">
            <a:extLst>
              <a:ext uri="{FF2B5EF4-FFF2-40B4-BE49-F238E27FC236}">
                <a16:creationId xmlns:a16="http://schemas.microsoft.com/office/drawing/2014/main" id="{84CF02C8-02FF-6768-45C6-AECD17BBF48C}"/>
              </a:ext>
            </a:extLst>
          </p:cNvPr>
          <p:cNvSpPr txBox="1"/>
          <p:nvPr userDrawn="1"/>
        </p:nvSpPr>
        <p:spPr>
          <a:xfrm>
            <a:off x="-1067655" y="460493"/>
            <a:ext cx="969174" cy="502573"/>
          </a:xfrm>
          <a:prstGeom prst="rect">
            <a:avLst/>
          </a:prstGeom>
          <a:noFill/>
        </p:spPr>
        <p:txBody>
          <a:bodyPr wrap="square" rtlCol="0">
            <a:spAutoFit/>
          </a:bodyPr>
          <a:lstStyle/>
          <a:p>
            <a:pPr algn="ctr"/>
            <a:r>
              <a:rPr lang="en-US" sz="1333">
                <a:latin typeface="+mn-lt"/>
              </a:rPr>
              <a:t>Embark colours</a:t>
            </a:r>
            <a:endParaRPr lang="en-GB" sz="1333">
              <a:latin typeface="+mn-lt"/>
            </a:endParaRPr>
          </a:p>
        </p:txBody>
      </p:sp>
      <p:sp>
        <p:nvSpPr>
          <p:cNvPr id="6" name="Rectangle 5">
            <a:extLst>
              <a:ext uri="{FF2B5EF4-FFF2-40B4-BE49-F238E27FC236}">
                <a16:creationId xmlns:a16="http://schemas.microsoft.com/office/drawing/2014/main" id="{CFFC2934-A750-3E3B-CB03-E46727954D7C}"/>
              </a:ext>
            </a:extLst>
          </p:cNvPr>
          <p:cNvSpPr/>
          <p:nvPr userDrawn="1"/>
        </p:nvSpPr>
        <p:spPr bwMode="auto">
          <a:xfrm>
            <a:off x="-825681" y="1170264"/>
            <a:ext cx="485228" cy="485228"/>
          </a:xfrm>
          <a:prstGeom prst="rect">
            <a:avLst/>
          </a:prstGeom>
          <a:solidFill>
            <a:schemeClr val="accent2"/>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7" name="Rectangle 6">
            <a:extLst>
              <a:ext uri="{FF2B5EF4-FFF2-40B4-BE49-F238E27FC236}">
                <a16:creationId xmlns:a16="http://schemas.microsoft.com/office/drawing/2014/main" id="{0B324FE4-9C16-BBA4-3644-23166996308B}"/>
              </a:ext>
            </a:extLst>
          </p:cNvPr>
          <p:cNvSpPr/>
          <p:nvPr userDrawn="1"/>
        </p:nvSpPr>
        <p:spPr bwMode="auto">
          <a:xfrm>
            <a:off x="-825681" y="1705710"/>
            <a:ext cx="485228" cy="485228"/>
          </a:xfrm>
          <a:prstGeom prst="rect">
            <a:avLst/>
          </a:prstGeom>
          <a:solidFill>
            <a:schemeClr val="accent3"/>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8" name="Rectangle 7">
            <a:extLst>
              <a:ext uri="{FF2B5EF4-FFF2-40B4-BE49-F238E27FC236}">
                <a16:creationId xmlns:a16="http://schemas.microsoft.com/office/drawing/2014/main" id="{F97E3DDE-65F0-AC18-D54B-7580C42126A6}"/>
              </a:ext>
            </a:extLst>
          </p:cNvPr>
          <p:cNvSpPr/>
          <p:nvPr userDrawn="1"/>
        </p:nvSpPr>
        <p:spPr bwMode="auto">
          <a:xfrm>
            <a:off x="-825681" y="2241159"/>
            <a:ext cx="485228" cy="485228"/>
          </a:xfrm>
          <a:prstGeom prst="rect">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14" name="Rectangle 13">
            <a:extLst>
              <a:ext uri="{FF2B5EF4-FFF2-40B4-BE49-F238E27FC236}">
                <a16:creationId xmlns:a16="http://schemas.microsoft.com/office/drawing/2014/main" id="{E8AE7F14-3DDB-7A5C-2F2E-CE4AF1428874}"/>
              </a:ext>
            </a:extLst>
          </p:cNvPr>
          <p:cNvSpPr/>
          <p:nvPr userDrawn="1"/>
        </p:nvSpPr>
        <p:spPr bwMode="auto">
          <a:xfrm>
            <a:off x="-825681" y="2774414"/>
            <a:ext cx="485228" cy="485228"/>
          </a:xfrm>
          <a:prstGeom prst="rect">
            <a:avLst/>
          </a:prstGeom>
          <a:solidFill>
            <a:srgbClr val="AB1254"/>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Tree>
    <p:extLst>
      <p:ext uri="{BB962C8B-B14F-4D97-AF65-F5344CB8AC3E}">
        <p14:creationId xmlns:p14="http://schemas.microsoft.com/office/powerpoint/2010/main" val="336971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172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3"/>
            <a:ext cx="9927025" cy="508601"/>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7"/>
            <a:ext cx="2804160" cy="130645"/>
          </a:xfrm>
        </p:spPr>
        <p:txBody>
          <a:bodyPr/>
          <a:lstStyle>
            <a:lvl1pPr>
              <a:defRPr>
                <a:solidFill>
                  <a:schemeClr val="bg1"/>
                </a:solidFill>
              </a:defRPr>
            </a:lvl1pPr>
          </a:lstStyle>
          <a:p>
            <a:r>
              <a:rPr lang="en-GB"/>
              <a:t>  </a:t>
            </a:r>
          </a:p>
        </p:txBody>
      </p:sp>
      <p:sp>
        <p:nvSpPr>
          <p:cNvPr id="7" name="Rectangle 6">
            <a:extLst>
              <a:ext uri="{FF2B5EF4-FFF2-40B4-BE49-F238E27FC236}">
                <a16:creationId xmlns:a16="http://schemas.microsoft.com/office/drawing/2014/main" id="{C5A45B81-3DA7-741B-E778-D652A7CD132B}"/>
              </a:ext>
            </a:extLst>
          </p:cNvPr>
          <p:cNvSpPr/>
          <p:nvPr userDrawn="1"/>
        </p:nvSpPr>
        <p:spPr>
          <a:xfrm>
            <a:off x="0" y="6771342"/>
            <a:ext cx="12192000" cy="866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pic>
        <p:nvPicPr>
          <p:cNvPr id="5" name="Picture 4">
            <a:extLst>
              <a:ext uri="{FF2B5EF4-FFF2-40B4-BE49-F238E27FC236}">
                <a16:creationId xmlns:a16="http://schemas.microsoft.com/office/drawing/2014/main" id="{AEFF15FF-418D-DE7D-3D10-D74BEF4E7DA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099800" y="84566"/>
            <a:ext cx="1009640" cy="511740"/>
          </a:xfrm>
          <a:prstGeom prst="rect">
            <a:avLst/>
          </a:prstGeom>
        </p:spPr>
      </p:pic>
    </p:spTree>
    <p:extLst>
      <p:ext uri="{BB962C8B-B14F-4D97-AF65-F5344CB8AC3E}">
        <p14:creationId xmlns:p14="http://schemas.microsoft.com/office/powerpoint/2010/main" val="319086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104.xml><?xml version="1.0" encoding="utf-8"?>
<p:sldLayout xmlns:a="http://schemas.openxmlformats.org/drawingml/2006/main" xmlns:r="http://schemas.openxmlformats.org/officeDocument/2006/relationships" xmlns:p="http://schemas.openxmlformats.org/presentationml/2006/main">
  <p:cSld name="Team Slide (x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47BD6-4A11-9F32-72F9-AE936CA9601E}"/>
              </a:ext>
            </a:extLst>
          </p:cNvPr>
          <p:cNvSpPr>
            <a:spLocks noGrp="1"/>
          </p:cNvSpPr>
          <p:nvPr>
            <p:ph type="title"/>
          </p:nvPr>
        </p:nvSpPr>
        <p:spPr/>
        <p:txBody>
          <a:bodyPr vert="horz"/>
          <a:lstStyle/>
          <a:p>
            <a:r>
              <a:rPr lang="en-US"/>
              <a:t>Click to edit Master title style</a:t>
            </a:r>
            <a:endParaRPr lang="en-GB"/>
          </a:p>
        </p:txBody>
      </p:sp>
      <p:sp>
        <p:nvSpPr>
          <p:cNvPr id="56" name="Picture Placeholder 55">
            <a:extLst>
              <a:ext uri="{FF2B5EF4-FFF2-40B4-BE49-F238E27FC236}">
                <a16:creationId xmlns:a16="http://schemas.microsoft.com/office/drawing/2014/main" id="{91B1ED11-2A95-3D55-EFC0-6D97C85D9B1E}"/>
              </a:ext>
            </a:extLst>
          </p:cNvPr>
          <p:cNvSpPr>
            <a:spLocks noGrp="1"/>
          </p:cNvSpPr>
          <p:nvPr>
            <p:ph type="pic" sz="quarter" idx="38"/>
          </p:nvPr>
        </p:nvSpPr>
        <p:spPr>
          <a:xfrm>
            <a:off x="382586" y="159226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5" name="Text Placeholder 54">
            <a:extLst>
              <a:ext uri="{FF2B5EF4-FFF2-40B4-BE49-F238E27FC236}">
                <a16:creationId xmlns:a16="http://schemas.microsoft.com/office/drawing/2014/main" id="{86296103-08EC-2B03-A45C-8D3A42CF27AA}"/>
              </a:ext>
            </a:extLst>
          </p:cNvPr>
          <p:cNvSpPr>
            <a:spLocks noGrp="1"/>
          </p:cNvSpPr>
          <p:nvPr>
            <p:ph type="body" sz="quarter" idx="37"/>
          </p:nvPr>
        </p:nvSpPr>
        <p:spPr>
          <a:xfrm>
            <a:off x="1457235" y="159226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8" name="Picture Placeholder 57">
            <a:extLst>
              <a:ext uri="{FF2B5EF4-FFF2-40B4-BE49-F238E27FC236}">
                <a16:creationId xmlns:a16="http://schemas.microsoft.com/office/drawing/2014/main" id="{1BFDAE90-1CDB-6673-EB93-68B73DE497D0}"/>
              </a:ext>
            </a:extLst>
          </p:cNvPr>
          <p:cNvSpPr>
            <a:spLocks noGrp="1"/>
          </p:cNvSpPr>
          <p:nvPr>
            <p:ph type="pic" sz="quarter" idx="40"/>
          </p:nvPr>
        </p:nvSpPr>
        <p:spPr>
          <a:xfrm>
            <a:off x="382586" y="274924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7" name="Text Placeholder 56">
            <a:extLst>
              <a:ext uri="{FF2B5EF4-FFF2-40B4-BE49-F238E27FC236}">
                <a16:creationId xmlns:a16="http://schemas.microsoft.com/office/drawing/2014/main" id="{26270669-67C2-7248-76D6-1BAF2A7DA2D2}"/>
              </a:ext>
            </a:extLst>
          </p:cNvPr>
          <p:cNvSpPr>
            <a:spLocks noGrp="1"/>
          </p:cNvSpPr>
          <p:nvPr>
            <p:ph type="body" sz="quarter" idx="39"/>
          </p:nvPr>
        </p:nvSpPr>
        <p:spPr>
          <a:xfrm>
            <a:off x="1457235" y="274924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60" name="Picture Placeholder 59">
            <a:extLst>
              <a:ext uri="{FF2B5EF4-FFF2-40B4-BE49-F238E27FC236}">
                <a16:creationId xmlns:a16="http://schemas.microsoft.com/office/drawing/2014/main" id="{BDEF1D29-B071-3415-DFB5-6351A9A49AF6}"/>
              </a:ext>
            </a:extLst>
          </p:cNvPr>
          <p:cNvSpPr>
            <a:spLocks noGrp="1"/>
          </p:cNvSpPr>
          <p:nvPr>
            <p:ph type="pic" sz="quarter" idx="42"/>
          </p:nvPr>
        </p:nvSpPr>
        <p:spPr>
          <a:xfrm>
            <a:off x="382586" y="390622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9" name="Text Placeholder 58">
            <a:extLst>
              <a:ext uri="{FF2B5EF4-FFF2-40B4-BE49-F238E27FC236}">
                <a16:creationId xmlns:a16="http://schemas.microsoft.com/office/drawing/2014/main" id="{6EA691B7-1A79-FD93-391C-0F95CEEB0CD5}"/>
              </a:ext>
            </a:extLst>
          </p:cNvPr>
          <p:cNvSpPr>
            <a:spLocks noGrp="1"/>
          </p:cNvSpPr>
          <p:nvPr>
            <p:ph type="body" sz="quarter" idx="41"/>
          </p:nvPr>
        </p:nvSpPr>
        <p:spPr>
          <a:xfrm>
            <a:off x="1457235" y="390622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62" name="Picture Placeholder 61">
            <a:extLst>
              <a:ext uri="{FF2B5EF4-FFF2-40B4-BE49-F238E27FC236}">
                <a16:creationId xmlns:a16="http://schemas.microsoft.com/office/drawing/2014/main" id="{524C129E-9D07-6ACC-1C85-41560C09CBC8}"/>
              </a:ext>
            </a:extLst>
          </p:cNvPr>
          <p:cNvSpPr>
            <a:spLocks noGrp="1"/>
          </p:cNvSpPr>
          <p:nvPr>
            <p:ph type="pic" sz="quarter" idx="44"/>
          </p:nvPr>
        </p:nvSpPr>
        <p:spPr>
          <a:xfrm>
            <a:off x="382586" y="5063204"/>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61" name="Text Placeholder 60">
            <a:extLst>
              <a:ext uri="{FF2B5EF4-FFF2-40B4-BE49-F238E27FC236}">
                <a16:creationId xmlns:a16="http://schemas.microsoft.com/office/drawing/2014/main" id="{CE607E41-61FB-3899-9D87-D967BCBB4862}"/>
              </a:ext>
            </a:extLst>
          </p:cNvPr>
          <p:cNvSpPr>
            <a:spLocks noGrp="1"/>
          </p:cNvSpPr>
          <p:nvPr>
            <p:ph type="body" sz="quarter" idx="43"/>
          </p:nvPr>
        </p:nvSpPr>
        <p:spPr>
          <a:xfrm>
            <a:off x="1457235" y="5063204"/>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47" name="Picture Placeholder 46">
            <a:extLst>
              <a:ext uri="{FF2B5EF4-FFF2-40B4-BE49-F238E27FC236}">
                <a16:creationId xmlns:a16="http://schemas.microsoft.com/office/drawing/2014/main" id="{956EEDF0-AF11-A458-A038-2EC53BC87C00}"/>
              </a:ext>
            </a:extLst>
          </p:cNvPr>
          <p:cNvSpPr>
            <a:spLocks noGrp="1"/>
          </p:cNvSpPr>
          <p:nvPr>
            <p:ph type="pic" sz="quarter" idx="30"/>
          </p:nvPr>
        </p:nvSpPr>
        <p:spPr>
          <a:xfrm>
            <a:off x="6167014" y="159226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48" name="Text Placeholder 47">
            <a:extLst>
              <a:ext uri="{FF2B5EF4-FFF2-40B4-BE49-F238E27FC236}">
                <a16:creationId xmlns:a16="http://schemas.microsoft.com/office/drawing/2014/main" id="{3F9EE951-49E8-B7AD-2AF9-BAABB3A4083A}"/>
              </a:ext>
            </a:extLst>
          </p:cNvPr>
          <p:cNvSpPr>
            <a:spLocks noGrp="1"/>
          </p:cNvSpPr>
          <p:nvPr>
            <p:ph type="body" sz="quarter" idx="24"/>
          </p:nvPr>
        </p:nvSpPr>
        <p:spPr>
          <a:xfrm>
            <a:off x="7241663" y="159226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0" name="Picture Placeholder 49">
            <a:extLst>
              <a:ext uri="{FF2B5EF4-FFF2-40B4-BE49-F238E27FC236}">
                <a16:creationId xmlns:a16="http://schemas.microsoft.com/office/drawing/2014/main" id="{C045B94B-9366-FDCB-DE9D-F25EA04C56AE}"/>
              </a:ext>
            </a:extLst>
          </p:cNvPr>
          <p:cNvSpPr>
            <a:spLocks noGrp="1"/>
          </p:cNvSpPr>
          <p:nvPr>
            <p:ph type="pic" sz="quarter" idx="32"/>
          </p:nvPr>
        </p:nvSpPr>
        <p:spPr>
          <a:xfrm>
            <a:off x="6167014" y="274924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49" name="Text Placeholder 48">
            <a:extLst>
              <a:ext uri="{FF2B5EF4-FFF2-40B4-BE49-F238E27FC236}">
                <a16:creationId xmlns:a16="http://schemas.microsoft.com/office/drawing/2014/main" id="{2CF3FC91-74AD-51D6-1291-AA9E7C14EE22}"/>
              </a:ext>
            </a:extLst>
          </p:cNvPr>
          <p:cNvSpPr>
            <a:spLocks noGrp="1"/>
          </p:cNvSpPr>
          <p:nvPr>
            <p:ph type="body" sz="quarter" idx="31"/>
          </p:nvPr>
        </p:nvSpPr>
        <p:spPr>
          <a:xfrm>
            <a:off x="7241663" y="274924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2" name="Picture Placeholder 51">
            <a:extLst>
              <a:ext uri="{FF2B5EF4-FFF2-40B4-BE49-F238E27FC236}">
                <a16:creationId xmlns:a16="http://schemas.microsoft.com/office/drawing/2014/main" id="{57702AE0-4A0E-2D1F-BE6C-555C11DF209C}"/>
              </a:ext>
            </a:extLst>
          </p:cNvPr>
          <p:cNvSpPr>
            <a:spLocks noGrp="1"/>
          </p:cNvSpPr>
          <p:nvPr>
            <p:ph type="pic" sz="quarter" idx="34"/>
          </p:nvPr>
        </p:nvSpPr>
        <p:spPr>
          <a:xfrm>
            <a:off x="6167014" y="390622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1" name="Text Placeholder 50">
            <a:extLst>
              <a:ext uri="{FF2B5EF4-FFF2-40B4-BE49-F238E27FC236}">
                <a16:creationId xmlns:a16="http://schemas.microsoft.com/office/drawing/2014/main" id="{95AE16F2-952F-47E8-C173-5B61A4EAF0C0}"/>
              </a:ext>
            </a:extLst>
          </p:cNvPr>
          <p:cNvSpPr>
            <a:spLocks noGrp="1"/>
          </p:cNvSpPr>
          <p:nvPr>
            <p:ph type="body" sz="quarter" idx="33"/>
          </p:nvPr>
        </p:nvSpPr>
        <p:spPr>
          <a:xfrm>
            <a:off x="7241663" y="390622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4" name="Picture Placeholder 53">
            <a:extLst>
              <a:ext uri="{FF2B5EF4-FFF2-40B4-BE49-F238E27FC236}">
                <a16:creationId xmlns:a16="http://schemas.microsoft.com/office/drawing/2014/main" id="{A396376E-618F-722D-A43E-31E50A883CDE}"/>
              </a:ext>
            </a:extLst>
          </p:cNvPr>
          <p:cNvSpPr>
            <a:spLocks noGrp="1"/>
          </p:cNvSpPr>
          <p:nvPr>
            <p:ph type="pic" sz="quarter" idx="36"/>
          </p:nvPr>
        </p:nvSpPr>
        <p:spPr>
          <a:xfrm>
            <a:off x="6167014" y="5063204"/>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3" name="Text Placeholder 52">
            <a:extLst>
              <a:ext uri="{FF2B5EF4-FFF2-40B4-BE49-F238E27FC236}">
                <a16:creationId xmlns:a16="http://schemas.microsoft.com/office/drawing/2014/main" id="{6F49C1D9-7ABD-B9AE-493C-D91B1332D692}"/>
              </a:ext>
            </a:extLst>
          </p:cNvPr>
          <p:cNvSpPr>
            <a:spLocks noGrp="1"/>
          </p:cNvSpPr>
          <p:nvPr>
            <p:ph type="body" sz="quarter" idx="35"/>
          </p:nvPr>
        </p:nvSpPr>
        <p:spPr>
          <a:xfrm>
            <a:off x="7241663" y="5063204"/>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9" name="Text Placeholder 9">
            <a:extLst>
              <a:ext uri="{FF2B5EF4-FFF2-40B4-BE49-F238E27FC236}">
                <a16:creationId xmlns:a16="http://schemas.microsoft.com/office/drawing/2014/main" id="{5654F61A-40DC-0ECF-01B6-937B465AAE03}"/>
              </a:ext>
            </a:extLst>
          </p:cNvPr>
          <p:cNvSpPr>
            <a:spLocks noGrp="1"/>
          </p:cNvSpPr>
          <p:nvPr>
            <p:ph type="body" sz="quarter" idx="29"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FB2118D-60F4-31FC-0AB3-678D6FA31079}"/>
              </a:ext>
            </a:extLst>
          </p:cNvPr>
          <p:cNvSpPr>
            <a:spLocks noGrp="1"/>
          </p:cNvSpPr>
          <p:nvPr>
            <p:ph type="dt" sz="half" idx="12"/>
          </p:nvPr>
        </p:nvSpPr>
        <p:spPr/>
        <p:txBody>
          <a:bodyPr/>
          <a:lstStyle/>
          <a:p>
            <a:fld id="{79B5AF2C-FDA2-4FE0-AB6E-5F602152AB6B}" type="datetime3">
              <a:rPr lang="en-GB" smtClean="0"/>
              <a:t>5 December, 2025</a:t>
            </a:fld>
            <a:endParaRPr lang="en-GB"/>
          </a:p>
        </p:txBody>
      </p:sp>
      <p:sp>
        <p:nvSpPr>
          <p:cNvPr id="3" name="Footer Placeholder 2">
            <a:extLst>
              <a:ext uri="{FF2B5EF4-FFF2-40B4-BE49-F238E27FC236}">
                <a16:creationId xmlns:a16="http://schemas.microsoft.com/office/drawing/2014/main" id="{D286D568-7CEA-C139-7A13-832404EF039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18DCC29F-8FFE-5F4A-B7D5-79EFC7AEE052}"/>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6" name="Rectangle 5">
            <a:extLst>
              <a:ext uri="{FF2B5EF4-FFF2-40B4-BE49-F238E27FC236}">
                <a16:creationId xmlns:a16="http://schemas.microsoft.com/office/drawing/2014/main" id="{7FFF1771-8FDE-3CA6-1AA5-B9FDAE2FD89F}"/>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s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126144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78719-8A2B-E177-322F-7AF621283AA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120B48A1-6FFB-DF57-93CC-9CA5E34646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F9568C9F-1A8E-B701-F9AD-AC0093604AFA}"/>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D4C1539A-9615-8A43-5F22-5FAAE4CA110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7DC2AE-AD1B-CD2C-D07F-21881E00416F}"/>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4561697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6022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5986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1012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1343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57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51594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0557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235038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776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8C5546-A39E-4455-2571-16F2A048D7E4}"/>
              </a:ext>
            </a:extLst>
          </p:cNvPr>
          <p:cNvSpPr>
            <a:spLocks noGrp="1"/>
          </p:cNvSpPr>
          <p:nvPr>
            <p:ph type="title"/>
          </p:nvPr>
        </p:nvSpPr>
        <p:spPr/>
        <p:txBody>
          <a:bodyPr vert="horz"/>
          <a:lstStyle/>
          <a:p>
            <a:r>
              <a:rPr lang="en-GB"/>
              <a:t>Click to edit Master title style</a:t>
            </a:r>
          </a:p>
        </p:txBody>
      </p:sp>
      <p:sp>
        <p:nvSpPr>
          <p:cNvPr id="2" name="Text Placeholder 9">
            <a:extLst>
              <a:ext uri="{FF2B5EF4-FFF2-40B4-BE49-F238E27FC236}">
                <a16:creationId xmlns:a16="http://schemas.microsoft.com/office/drawing/2014/main" id="{1FF9F1A9-55B6-0E82-104A-5B94805416EE}"/>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8AED2CF2-CD99-C1DB-2A62-8446381EA2DF}"/>
              </a:ext>
            </a:extLst>
          </p:cNvPr>
          <p:cNvSpPr>
            <a:spLocks noGrp="1"/>
          </p:cNvSpPr>
          <p:nvPr>
            <p:ph type="dt" sz="half" idx="12"/>
          </p:nvPr>
        </p:nvSpPr>
        <p:spPr/>
        <p:txBody>
          <a:bodyPr/>
          <a:lstStyle/>
          <a:p>
            <a:fld id="{9249EE7A-E6BC-4FBE-8E14-1F37D5EBA44D}" type="datetime3">
              <a:rPr lang="en-GB" smtClean="0"/>
              <a:t>5 December, 2025</a:t>
            </a:fld>
            <a:endParaRPr lang="en-GB"/>
          </a:p>
        </p:txBody>
      </p:sp>
      <p:sp>
        <p:nvSpPr>
          <p:cNvPr id="3" name="Footer Placeholder 2">
            <a:extLst>
              <a:ext uri="{FF2B5EF4-FFF2-40B4-BE49-F238E27FC236}">
                <a16:creationId xmlns:a16="http://schemas.microsoft.com/office/drawing/2014/main" id="{FD2A3DC0-23A8-A34B-CD6D-B5D3224767F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3BA19DE-A067-6F27-A722-CF9B56934DC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42149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74516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1685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8477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82422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0782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57406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92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46840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867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236015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FD52A-DC66-9A41-318D-F8E1652C8794}"/>
              </a:ext>
            </a:extLst>
          </p:cNvPr>
          <p:cNvSpPr>
            <a:spLocks noGrp="1"/>
          </p:cNvSpPr>
          <p:nvPr>
            <p:ph type="title"/>
          </p:nvPr>
        </p:nvSpPr>
        <p:spPr>
          <a:xfrm>
            <a:off x="237600" y="223200"/>
            <a:ext cx="11546173" cy="630944"/>
          </a:xfrm>
        </p:spPr>
        <p:txBody>
          <a:bodyPr>
            <a:noAutofit/>
          </a:bodyPr>
          <a:lstStyle>
            <a:lvl1pPr algn="l">
              <a:lnSpc>
                <a:spcPts val="4000"/>
              </a:lnSpc>
              <a:defRPr sz="4000" b="1" i="0">
                <a:latin typeface="GT Ultra Median Lloyds Black" pitchFamily="2" charset="77"/>
              </a:defRPr>
            </a:lvl1pPr>
          </a:lstStyle>
          <a:p>
            <a:r>
              <a:rPr lang="en-US"/>
              <a:t>Click to edit Master title style</a:t>
            </a:r>
            <a:endParaRPr lang="en-GB"/>
          </a:p>
        </p:txBody>
      </p:sp>
      <p:sp>
        <p:nvSpPr>
          <p:cNvPr id="8" name="Slide Number Placeholder 5">
            <a:extLst>
              <a:ext uri="{FF2B5EF4-FFF2-40B4-BE49-F238E27FC236}">
                <a16:creationId xmlns:a16="http://schemas.microsoft.com/office/drawing/2014/main" id="{5FC8A992-48AA-A4C4-4CB9-083B21636A04}"/>
              </a:ext>
            </a:extLst>
          </p:cNvPr>
          <p:cNvSpPr>
            <a:spLocks noGrp="1"/>
          </p:cNvSpPr>
          <p:nvPr>
            <p:ph type="sldNum" sz="quarter" idx="4"/>
          </p:nvPr>
        </p:nvSpPr>
        <p:spPr>
          <a:xfrm>
            <a:off x="10947400" y="6554926"/>
            <a:ext cx="916071" cy="204591"/>
          </a:xfrm>
          <a:prstGeom prst="rect">
            <a:avLst/>
          </a:prstGeom>
        </p:spPr>
        <p:txBody>
          <a:bodyPr vert="horz" lIns="90000" tIns="45720" rIns="0" bIns="45720" rtlCol="0" anchor="ctr"/>
          <a:lstStyle>
            <a:lvl1pPr algn="r">
              <a:lnSpc>
                <a:spcPts val="1440"/>
              </a:lnSpc>
              <a:defRPr lang="en-GB" sz="1200" kern="1200" smtClean="0">
                <a:solidFill>
                  <a:schemeClr val="tx1"/>
                </a:solidFill>
                <a:latin typeface="GT Ultra Lloyds Light" pitchFamily="50" charset="0"/>
                <a:ea typeface="+mn-ea"/>
                <a:cs typeface="+mn-cs"/>
              </a:defRPr>
            </a:lvl1pPr>
          </a:lstStyle>
          <a:p>
            <a:fld id="{C3990253-BAA6-4DC5-B65D-3CE789B62977}" type="slidenum">
              <a:rPr lang="en-GB" smtClean="0"/>
              <a:pPr/>
              <a:t>‹#›</a:t>
            </a:fld>
            <a:endParaRPr lang="en-GB"/>
          </a:p>
        </p:txBody>
      </p:sp>
    </p:spTree>
    <p:extLst>
      <p:ext uri="{BB962C8B-B14F-4D97-AF65-F5344CB8AC3E}">
        <p14:creationId xmlns:p14="http://schemas.microsoft.com/office/powerpoint/2010/main" val="10939244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262616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48030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85924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73168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40395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16410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44780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white right half">
            <a:extLst>
              <a:ext uri="{FF2B5EF4-FFF2-40B4-BE49-F238E27FC236}">
                <a16:creationId xmlns:a16="http://schemas.microsoft.com/office/drawing/2014/main" id="{747CFB75-7D71-23BC-3385-9E2DF23DDCC2}"/>
              </a:ext>
            </a:extLst>
          </p:cNvPr>
          <p:cNvSpPr/>
          <p:nvPr/>
        </p:nvSpPr>
        <p:spPr>
          <a:xfrm>
            <a:off x="8131575" y="1534098"/>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966336"/>
            <a:ext cx="3130547"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3" y="2661046"/>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6" y="1840379"/>
            <a:ext cx="3096045"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3" y="1840379"/>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3" y="297553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3" y="367761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3" y="399210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3" y="469418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3" y="500867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3" y="5710758"/>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3" y="602524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413202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white right half">
            <a:extLst>
              <a:ext uri="{FF2B5EF4-FFF2-40B4-BE49-F238E27FC236}">
                <a16:creationId xmlns:a16="http://schemas.microsoft.com/office/drawing/2014/main" id="{747CFB75-7D71-23BC-3385-9E2DF23DDCC2}"/>
              </a:ext>
            </a:extLst>
          </p:cNvPr>
          <p:cNvSpPr/>
          <p:nvPr/>
        </p:nvSpPr>
        <p:spPr>
          <a:xfrm>
            <a:off x="0"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4"/>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0"/>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2"/>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4"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1"/>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09"/>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79"/>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6" y="5498844"/>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6" y="6283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8" y="1678654"/>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219896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190857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Full bleed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77D942-9A9A-46E5-40A2-3F0F26A49BC4}"/>
              </a:ext>
              <a:ext uri="{C183D7F6-B498-43B3-948B-1728B52AA6E4}">
                <adec:decorative xmlns:adec="http://schemas.microsoft.com/office/drawing/2017/decorative" val="1"/>
              </a:ext>
            </a:extLst>
          </p:cNvPr>
          <p:cNvSpPr/>
          <p:nvPr userDrawn="1"/>
        </p:nvSpPr>
        <p:spPr>
          <a:xfrm>
            <a:off x="0" y="0"/>
            <a:ext cx="12192000" cy="3393325"/>
          </a:xfrm>
          <a:prstGeom prst="rect">
            <a:avLst/>
          </a:prstGeom>
          <a:gradFill>
            <a:gsLst>
              <a:gs pos="1000">
                <a:schemeClr val="bg1">
                  <a:alpha val="62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descr="Lloyds Banking Group logo">
            <a:extLst>
              <a:ext uri="{FF2B5EF4-FFF2-40B4-BE49-F238E27FC236}">
                <a16:creationId xmlns:a16="http://schemas.microsoft.com/office/drawing/2014/main" id="{519C24BE-B925-E24C-E38E-64867AF8DC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3393" y="527129"/>
            <a:ext cx="1320657" cy="1113182"/>
          </a:xfrm>
          <a:prstGeom prst="rect">
            <a:avLst/>
          </a:prstGeom>
        </p:spPr>
      </p:pic>
      <p:sp>
        <p:nvSpPr>
          <p:cNvPr id="15" name="Title 14">
            <a:extLst>
              <a:ext uri="{FF2B5EF4-FFF2-40B4-BE49-F238E27FC236}">
                <a16:creationId xmlns:a16="http://schemas.microsoft.com/office/drawing/2014/main" id="{3B4209EC-FE27-C57D-39A4-CC8F78966AF2}"/>
              </a:ext>
            </a:extLst>
          </p:cNvPr>
          <p:cNvSpPr>
            <a:spLocks noGrp="1"/>
          </p:cNvSpPr>
          <p:nvPr>
            <p:ph type="title"/>
          </p:nvPr>
        </p:nvSpPr>
        <p:spPr>
          <a:xfrm>
            <a:off x="838200" y="1958975"/>
            <a:ext cx="10515600" cy="1377950"/>
          </a:xfrm>
          <a:prstGeom prst="rect">
            <a:avLst/>
          </a:prstGeom>
        </p:spPr>
        <p:txBody>
          <a:bodyPr vert="horz" anchor="ctr"/>
          <a:lstStyle>
            <a:lvl1pPr algn="ctr">
              <a:defRPr sz="4400" spc="-20" baseline="0">
                <a:latin typeface="GT Ultra Median Lloyds Black" panose="020B0604020202020204" charset="0"/>
              </a:defRPr>
            </a:lvl1pPr>
          </a:lstStyle>
          <a:p>
            <a:r>
              <a:rPr lang="en-US"/>
              <a:t>Click to edit Master title style</a:t>
            </a:r>
            <a:endParaRPr lang="en-GB"/>
          </a:p>
        </p:txBody>
      </p:sp>
      <p:sp>
        <p:nvSpPr>
          <p:cNvPr id="25" name="Text Placeholder 3">
            <a:extLst>
              <a:ext uri="{FF2B5EF4-FFF2-40B4-BE49-F238E27FC236}">
                <a16:creationId xmlns:a16="http://schemas.microsoft.com/office/drawing/2014/main" id="{64E83FE9-10F3-9789-FA30-B0A08C7E037E}"/>
              </a:ext>
            </a:extLst>
          </p:cNvPr>
          <p:cNvSpPr>
            <a:spLocks noGrp="1"/>
          </p:cNvSpPr>
          <p:nvPr>
            <p:ph type="body" sz="quarter" idx="10"/>
          </p:nvPr>
        </p:nvSpPr>
        <p:spPr>
          <a:xfrm>
            <a:off x="838200" y="3393325"/>
            <a:ext cx="10515600" cy="773765"/>
          </a:xfrm>
        </p:spPr>
        <p:txBody>
          <a:bodyPr anchor="ctr"/>
          <a:lstStyle>
            <a:lvl1pPr algn="ctr">
              <a:lnSpc>
                <a:spcPct val="100000"/>
              </a:lnSpc>
              <a:defRPr b="0"/>
            </a:lvl1pPr>
          </a:lstStyle>
          <a:p>
            <a:pPr lvl="0"/>
            <a:r>
              <a:rPr lang="en-US"/>
              <a:t>Click to edit Master text styles</a:t>
            </a:r>
          </a:p>
        </p:txBody>
      </p:sp>
      <p:sp>
        <p:nvSpPr>
          <p:cNvPr id="29" name="Date Placeholder 28">
            <a:extLst>
              <a:ext uri="{FF2B5EF4-FFF2-40B4-BE49-F238E27FC236}">
                <a16:creationId xmlns:a16="http://schemas.microsoft.com/office/drawing/2014/main" id="{1ECD8488-AAC7-7FD3-8B59-DE9A6DCA1A78}"/>
              </a:ext>
            </a:extLst>
          </p:cNvPr>
          <p:cNvSpPr>
            <a:spLocks noGrp="1"/>
          </p:cNvSpPr>
          <p:nvPr>
            <p:ph type="dt" sz="half" idx="15"/>
          </p:nvPr>
        </p:nvSpPr>
        <p:spPr>
          <a:xfrm>
            <a:off x="4724400" y="4223490"/>
            <a:ext cx="2743200" cy="220763"/>
          </a:xfrm>
        </p:spPr>
        <p:txBody>
          <a:bodyPr/>
          <a:lstStyle>
            <a:lvl1pPr algn="ctr">
              <a:defRPr sz="1200" b="0"/>
            </a:lvl1pPr>
          </a:lstStyle>
          <a:p>
            <a:fld id="{3DAE49FE-D209-4CE2-A110-9E636A10F85D}" type="datetime3">
              <a:rPr lang="en-GB" smtClean="0"/>
              <a:t>5 December, 2025</a:t>
            </a:fld>
            <a:endParaRPr lang="en-GB"/>
          </a:p>
        </p:txBody>
      </p:sp>
      <p:sp>
        <p:nvSpPr>
          <p:cNvPr id="8" name="Rectangle 7">
            <a:extLst>
              <a:ext uri="{FF2B5EF4-FFF2-40B4-BE49-F238E27FC236}">
                <a16:creationId xmlns:a16="http://schemas.microsoft.com/office/drawing/2014/main" id="{89091BB0-B54E-4658-48EE-DC15E38DA1CA}"/>
              </a:ext>
            </a:extLst>
          </p:cNvPr>
          <p:cNvSpPr/>
          <p:nvPr/>
        </p:nvSpPr>
        <p:spPr>
          <a:xfrm>
            <a:off x="0" y="6959600"/>
            <a:ext cx="10535920" cy="48768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050"/>
              <a:t>Choose background images which have the focal point towards the lower end of the slide as the text is housed towards the top. </a:t>
            </a:r>
            <a:r>
              <a:rPr lang="en-US" sz="1050"/>
              <a:t>To change the background image: Right-click the slide &gt; Format Background &gt; Picture or texture fill &gt; Picture Source &gt; Insert… browse to your chosen image, click Open.</a:t>
            </a:r>
          </a:p>
        </p:txBody>
      </p:sp>
    </p:spTree>
    <p:extLst>
      <p:ext uri="{BB962C8B-B14F-4D97-AF65-F5344CB8AC3E}">
        <p14:creationId xmlns:p14="http://schemas.microsoft.com/office/powerpoint/2010/main" val="362290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5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p:nvSpPr>
        <p:spPr>
          <a:xfrm>
            <a:off x="578548" y="473178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sp>
        <p:nvSpPr>
          <p:cNvPr id="22" name="Rectangle 21">
            <a:extLst>
              <a:ext uri="{FF2B5EF4-FFF2-40B4-BE49-F238E27FC236}">
                <a16:creationId xmlns:a16="http://schemas.microsoft.com/office/drawing/2014/main" id="{21EF644A-1C35-261E-B0F2-AB584A034E92}"/>
              </a:ext>
            </a:extLst>
          </p:cNvPr>
          <p:cNvSpPr/>
          <p:nvPr/>
        </p:nvSpPr>
        <p:spPr>
          <a:xfrm>
            <a:off x="578548" y="3027827"/>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sp>
        <p:nvSpPr>
          <p:cNvPr id="12" name="Rectangle 11">
            <a:extLst>
              <a:ext uri="{FF2B5EF4-FFF2-40B4-BE49-F238E27FC236}">
                <a16:creationId xmlns:a16="http://schemas.microsoft.com/office/drawing/2014/main" id="{DA49F5ED-1D1C-D0A1-F251-9A33CAA04695}"/>
              </a:ext>
            </a:extLst>
          </p:cNvPr>
          <p:cNvSpPr/>
          <p:nvPr/>
        </p:nvSpPr>
        <p:spPr>
          <a:xfrm>
            <a:off x="578548" y="1338859"/>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1"/>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999">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1"/>
            <a:ext cx="9157722" cy="1572989"/>
          </a:xfrm>
          <a:prstGeom prst="rect">
            <a:avLst/>
          </a:prstGeom>
          <a:ln>
            <a:solidFill>
              <a:srgbClr val="007C43"/>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5"/>
            <a:ext cx="9157722" cy="1572989"/>
          </a:xfrm>
          <a:prstGeom prst="rect">
            <a:avLst/>
          </a:prstGeom>
          <a:ln>
            <a:solidFill>
              <a:srgbClr val="007C43"/>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7"/>
            <a:ext cx="9157722" cy="1572989"/>
          </a:xfrm>
          <a:prstGeom prst="rect">
            <a:avLst/>
          </a:prstGeom>
          <a:ln>
            <a:solidFill>
              <a:srgbClr val="00592F"/>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2"/>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2"/>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5"/>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Tree>
    <p:extLst>
      <p:ext uri="{BB962C8B-B14F-4D97-AF65-F5344CB8AC3E}">
        <p14:creationId xmlns:p14="http://schemas.microsoft.com/office/powerpoint/2010/main" val="3516943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8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05804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30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53825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2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65010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5113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401726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380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49"/>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2" y="2411935"/>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301"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82"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66"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46"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27"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9676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6292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5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5321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attern 01)">
    <p:bg>
      <p:bgPr>
        <a:solidFill>
          <a:srgbClr val="11B67A"/>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300310A-6FD5-072E-5093-6401F2B8DF11}"/>
              </a:ext>
              <a:ext uri="{C183D7F6-B498-43B3-948B-1728B52AA6E4}">
                <adec:decorative xmlns:adec="http://schemas.microsoft.com/office/drawing/2017/decorative" val="1"/>
              </a:ext>
            </a:extLst>
          </p:cNvPr>
          <p:cNvSpPr/>
          <p:nvPr userDrawn="1"/>
        </p:nvSpPr>
        <p:spPr>
          <a:xfrm>
            <a:off x="6807518" y="30813"/>
            <a:ext cx="5384482" cy="6827189"/>
          </a:xfrm>
          <a:custGeom>
            <a:avLst/>
            <a:gdLst>
              <a:gd name="connsiteX0" fmla="*/ 5384482 w 5384482"/>
              <a:gd name="connsiteY0" fmla="*/ 0 h 6827189"/>
              <a:gd name="connsiteX1" fmla="*/ 5384482 w 5384482"/>
              <a:gd name="connsiteY1" fmla="*/ 2442051 h 6827189"/>
              <a:gd name="connsiteX2" fmla="*/ 5292182 w 5384482"/>
              <a:gd name="connsiteY2" fmla="*/ 2543613 h 6827189"/>
              <a:gd name="connsiteX3" fmla="*/ 4076538 w 5384482"/>
              <a:gd name="connsiteY3" fmla="*/ 6600244 h 6827189"/>
              <a:gd name="connsiteX4" fmla="*/ 2582476 w 5384482"/>
              <a:gd name="connsiteY4" fmla="*/ 4314003 h 6827189"/>
              <a:gd name="connsiteX5" fmla="*/ 1066277 w 5384482"/>
              <a:gd name="connsiteY5" fmla="*/ 6637057 h 6827189"/>
              <a:gd name="connsiteX6" fmla="*/ 1009989 w 5384482"/>
              <a:gd name="connsiteY6" fmla="*/ 6827189 h 6827189"/>
              <a:gd name="connsiteX7" fmla="*/ 0 w 5384482"/>
              <a:gd name="connsiteY7" fmla="*/ 6827189 h 6827189"/>
              <a:gd name="connsiteX8" fmla="*/ 11499 w 5384482"/>
              <a:gd name="connsiteY8" fmla="*/ 6464569 h 6827189"/>
              <a:gd name="connsiteX9" fmla="*/ 5011711 w 5384482"/>
              <a:gd name="connsiteY9" fmla="*/ 152841 h 682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4482" h="6827189">
                <a:moveTo>
                  <a:pt x="5384482" y="0"/>
                </a:moveTo>
                <a:lnTo>
                  <a:pt x="5384482" y="2442051"/>
                </a:lnTo>
                <a:lnTo>
                  <a:pt x="5292182" y="2543613"/>
                </a:lnTo>
                <a:cubicBezTo>
                  <a:pt x="4383958" y="3600892"/>
                  <a:pt x="3887904" y="4964383"/>
                  <a:pt x="4076538" y="6600244"/>
                </a:cubicBezTo>
                <a:cubicBezTo>
                  <a:pt x="3227190" y="5992113"/>
                  <a:pt x="2806380" y="5114502"/>
                  <a:pt x="2582476" y="4314003"/>
                </a:cubicBezTo>
                <a:cubicBezTo>
                  <a:pt x="1903321" y="4816303"/>
                  <a:pt x="1389142" y="5646798"/>
                  <a:pt x="1066277" y="6637057"/>
                </a:cubicBezTo>
                <a:lnTo>
                  <a:pt x="1009989" y="6827189"/>
                </a:lnTo>
                <a:lnTo>
                  <a:pt x="0" y="6827189"/>
                </a:lnTo>
                <a:lnTo>
                  <a:pt x="11499" y="6464569"/>
                </a:lnTo>
                <a:cubicBezTo>
                  <a:pt x="179272" y="3686095"/>
                  <a:pt x="2150889" y="1398452"/>
                  <a:pt x="5011711" y="152841"/>
                </a:cubicBezTo>
                <a:close/>
              </a:path>
            </a:pathLst>
          </a:custGeom>
          <a:solidFill>
            <a:srgbClr val="6CF479"/>
          </a:solidFill>
          <a:ln w="0" cap="flat">
            <a:noFill/>
            <a:prstDash val="solid"/>
            <a:miter/>
          </a:ln>
        </p:spPr>
        <p:txBody>
          <a:bodyPr wrap="square" rtlCol="0" anchor="ctr">
            <a:noAutofit/>
          </a:bodyPr>
          <a:lstStyle/>
          <a:p>
            <a:endParaRPr lang="en-GB"/>
          </a:p>
        </p:txBody>
      </p:sp>
      <p:pic>
        <p:nvPicPr>
          <p:cNvPr id="5" name="Graphic 4" descr="Lloyds Banking Group logo">
            <a:extLst>
              <a:ext uri="{FF2B5EF4-FFF2-40B4-BE49-F238E27FC236}">
                <a16:creationId xmlns:a16="http://schemas.microsoft.com/office/drawing/2014/main" id="{1FD95BB2-B6B9-2639-1826-3AB53983E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589" y="527129"/>
            <a:ext cx="1320657" cy="1113182"/>
          </a:xfrm>
          <a:prstGeom prst="rect">
            <a:avLst/>
          </a:prstGeom>
        </p:spPr>
      </p:pic>
      <p:sp>
        <p:nvSpPr>
          <p:cNvPr id="40" name="Title 14">
            <a:extLst>
              <a:ext uri="{FF2B5EF4-FFF2-40B4-BE49-F238E27FC236}">
                <a16:creationId xmlns:a16="http://schemas.microsoft.com/office/drawing/2014/main" id="{B6FAFA17-677E-B803-2E6C-456CFBDE629B}"/>
              </a:ext>
            </a:extLst>
          </p:cNvPr>
          <p:cNvSpPr>
            <a:spLocks noGrp="1"/>
          </p:cNvSpPr>
          <p:nvPr>
            <p:ph type="title"/>
          </p:nvPr>
        </p:nvSpPr>
        <p:spPr>
          <a:xfrm>
            <a:off x="382589" y="2231644"/>
            <a:ext cx="5629274" cy="2502916"/>
          </a:xfrm>
          <a:prstGeom prst="rect">
            <a:avLst/>
          </a:prstGeom>
        </p:spPr>
        <p:txBody>
          <a:bodyPr vert="horz" anchor="b"/>
          <a:lstStyle>
            <a:lvl1pPr algn="l">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39" name="Text Placeholder 3">
            <a:extLst>
              <a:ext uri="{FF2B5EF4-FFF2-40B4-BE49-F238E27FC236}">
                <a16:creationId xmlns:a16="http://schemas.microsoft.com/office/drawing/2014/main" id="{76B6223B-C824-CE71-7DD2-F9A6CD6AE079}"/>
              </a:ext>
            </a:extLst>
          </p:cNvPr>
          <p:cNvSpPr>
            <a:spLocks noGrp="1"/>
          </p:cNvSpPr>
          <p:nvPr>
            <p:ph type="body" sz="quarter" idx="13"/>
          </p:nvPr>
        </p:nvSpPr>
        <p:spPr>
          <a:xfrm>
            <a:off x="382588" y="4977047"/>
            <a:ext cx="5629274" cy="666260"/>
          </a:xfrm>
        </p:spPr>
        <p:txBody>
          <a:bodyPr anchor="t"/>
          <a:lstStyle>
            <a:lvl1pPr algn="l">
              <a:lnSpc>
                <a:spcPct val="100000"/>
              </a:lnSpc>
              <a:defRPr b="0">
                <a:solidFill>
                  <a:schemeClr val="tx1"/>
                </a:solidFill>
              </a:defRPr>
            </a:lvl1pPr>
          </a:lstStyle>
          <a:p>
            <a:pPr lvl="0"/>
            <a:r>
              <a:rPr lang="en-US"/>
              <a:t>Click to edit Master text styles</a:t>
            </a:r>
          </a:p>
        </p:txBody>
      </p:sp>
      <p:sp>
        <p:nvSpPr>
          <p:cNvPr id="9" name="Date Placeholder 4">
            <a:extLst>
              <a:ext uri="{FF2B5EF4-FFF2-40B4-BE49-F238E27FC236}">
                <a16:creationId xmlns:a16="http://schemas.microsoft.com/office/drawing/2014/main" id="{A1F128EB-58EE-97F8-1BFD-208F88D8C752}"/>
              </a:ext>
            </a:extLst>
          </p:cNvPr>
          <p:cNvSpPr>
            <a:spLocks noGrp="1"/>
          </p:cNvSpPr>
          <p:nvPr>
            <p:ph type="dt" sz="half" idx="12"/>
          </p:nvPr>
        </p:nvSpPr>
        <p:spPr>
          <a:xfrm>
            <a:off x="382588" y="6552055"/>
            <a:ext cx="2743200" cy="152470"/>
          </a:xfrm>
        </p:spPr>
        <p:txBody>
          <a:bodyPr/>
          <a:lstStyle>
            <a:lvl1pPr>
              <a:defRPr>
                <a:solidFill>
                  <a:schemeClr val="tx1"/>
                </a:solidFill>
              </a:defRPr>
            </a:lvl1pPr>
          </a:lstStyle>
          <a:p>
            <a:fld id="{147A310B-6144-4DAF-8BDB-A887EAE8D24F}"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24580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6559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3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6907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2545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6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95927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5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76180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4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73234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3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8626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2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2281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983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5431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attern 02)">
    <p:bg>
      <p:bgPr>
        <a:solidFill>
          <a:srgbClr val="006A4D"/>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0BAE79C-80E4-9C50-50CC-E7CAE35A6DB9}"/>
              </a:ext>
              <a:ext uri="{C183D7F6-B498-43B3-948B-1728B52AA6E4}">
                <adec:decorative xmlns:adec="http://schemas.microsoft.com/office/drawing/2017/decorative" val="1"/>
              </a:ext>
            </a:extLst>
          </p:cNvPr>
          <p:cNvSpPr/>
          <p:nvPr/>
        </p:nvSpPr>
        <p:spPr>
          <a:xfrm rot="16200000">
            <a:off x="5932746" y="598746"/>
            <a:ext cx="6863839" cy="5654669"/>
          </a:xfrm>
          <a:custGeom>
            <a:avLst/>
            <a:gdLst>
              <a:gd name="connsiteX0" fmla="*/ 6863839 w 6863839"/>
              <a:gd name="connsiteY0" fmla="*/ 1044693 h 5654669"/>
              <a:gd name="connsiteX1" fmla="*/ 6863839 w 6863839"/>
              <a:gd name="connsiteY1" fmla="*/ 5654669 h 5654669"/>
              <a:gd name="connsiteX2" fmla="*/ 5334051 w 6863839"/>
              <a:gd name="connsiteY2" fmla="*/ 5654669 h 5654669"/>
              <a:gd name="connsiteX3" fmla="*/ 5335786 w 6863839"/>
              <a:gd name="connsiteY3" fmla="*/ 5651484 h 5654669"/>
              <a:gd name="connsiteX4" fmla="*/ 5463273 w 6863839"/>
              <a:gd name="connsiteY4" fmla="*/ 4972474 h 5654669"/>
              <a:gd name="connsiteX5" fmla="*/ 4115919 w 6863839"/>
              <a:gd name="connsiteY5" fmla="*/ 4162776 h 5654669"/>
              <a:gd name="connsiteX6" fmla="*/ 3190007 w 6863839"/>
              <a:gd name="connsiteY6" fmla="*/ 4923920 h 5654669"/>
              <a:gd name="connsiteX7" fmla="*/ 3072134 w 6863839"/>
              <a:gd name="connsiteY7" fmla="*/ 3534852 h 5654669"/>
              <a:gd name="connsiteX8" fmla="*/ 3070447 w 6863839"/>
              <a:gd name="connsiteY8" fmla="*/ 3526396 h 5654669"/>
              <a:gd name="connsiteX9" fmla="*/ 119279 w 6863839"/>
              <a:gd name="connsiteY9" fmla="*/ 5543184 h 5654669"/>
              <a:gd name="connsiteX10" fmla="*/ 0 w 6863839"/>
              <a:gd name="connsiteY10" fmla="*/ 5589550 h 5654669"/>
              <a:gd name="connsiteX11" fmla="*/ 0 w 6863839"/>
              <a:gd name="connsiteY11" fmla="*/ 3119143 h 5654669"/>
              <a:gd name="connsiteX12" fmla="*/ 96697 w 6863839"/>
              <a:gd name="connsiteY12" fmla="*/ 3052260 h 5654669"/>
              <a:gd name="connsiteX13" fmla="*/ 4032513 w 6863839"/>
              <a:gd name="connsiteY13" fmla="*/ 67165 h 5654669"/>
              <a:gd name="connsiteX14" fmla="*/ 6863839 w 6863839"/>
              <a:gd name="connsiteY14" fmla="*/ 1044693 h 565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839" h="5654669">
                <a:moveTo>
                  <a:pt x="6863839" y="1044693"/>
                </a:moveTo>
                <a:lnTo>
                  <a:pt x="6863839" y="5654669"/>
                </a:lnTo>
                <a:lnTo>
                  <a:pt x="5334051" y="5654669"/>
                </a:lnTo>
                <a:lnTo>
                  <a:pt x="5335786" y="5651484"/>
                </a:lnTo>
                <a:cubicBezTo>
                  <a:pt x="5450360" y="5420486"/>
                  <a:pt x="5506528" y="5189216"/>
                  <a:pt x="5463273" y="4972474"/>
                </a:cubicBezTo>
                <a:cubicBezTo>
                  <a:pt x="5354092" y="4425464"/>
                  <a:pt x="4806153" y="4025019"/>
                  <a:pt x="4115919" y="4162776"/>
                </a:cubicBezTo>
                <a:cubicBezTo>
                  <a:pt x="3714098" y="4242974"/>
                  <a:pt x="3307645" y="4507442"/>
                  <a:pt x="3190007" y="4923920"/>
                </a:cubicBezTo>
                <a:cubicBezTo>
                  <a:pt x="2757851" y="4726396"/>
                  <a:pt x="2578261" y="4033977"/>
                  <a:pt x="3072134" y="3534852"/>
                </a:cubicBezTo>
                <a:lnTo>
                  <a:pt x="3070447" y="3526396"/>
                </a:lnTo>
                <a:cubicBezTo>
                  <a:pt x="1884745" y="3763056"/>
                  <a:pt x="1235648" y="5042001"/>
                  <a:pt x="119279" y="5543184"/>
                </a:cubicBezTo>
                <a:lnTo>
                  <a:pt x="0" y="5589550"/>
                </a:lnTo>
                <a:lnTo>
                  <a:pt x="0" y="3119143"/>
                </a:lnTo>
                <a:lnTo>
                  <a:pt x="96697" y="3052260"/>
                </a:lnTo>
                <a:cubicBezTo>
                  <a:pt x="1138473" y="2245439"/>
                  <a:pt x="2100097" y="452853"/>
                  <a:pt x="4032513" y="67165"/>
                </a:cubicBezTo>
                <a:cubicBezTo>
                  <a:pt x="5248670" y="-175563"/>
                  <a:pt x="6233389" y="260012"/>
                  <a:pt x="6863839" y="1044693"/>
                </a:cubicBezTo>
                <a:close/>
              </a:path>
            </a:pathLst>
          </a:custGeom>
          <a:solidFill>
            <a:schemeClr val="tx1"/>
          </a:solidFill>
          <a:ln w="0" cap="flat">
            <a:noFill/>
            <a:prstDash val="solid"/>
            <a:miter/>
          </a:ln>
        </p:spPr>
        <p:txBody>
          <a:bodyPr rtlCol="0" anchor="ctr"/>
          <a:lstStyle/>
          <a:p>
            <a:endParaRPr lang="en-GB"/>
          </a:p>
        </p:txBody>
      </p:sp>
      <p:pic>
        <p:nvPicPr>
          <p:cNvPr id="6" name="Graphic 5" descr="Lloyds Banking Group logo">
            <a:extLst>
              <a:ext uri="{FF2B5EF4-FFF2-40B4-BE49-F238E27FC236}">
                <a16:creationId xmlns:a16="http://schemas.microsoft.com/office/drawing/2014/main" id="{562025A7-4E7B-BEB8-F588-D686A44394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589" y="527129"/>
            <a:ext cx="1320657" cy="1113182"/>
          </a:xfrm>
          <a:prstGeom prst="rect">
            <a:avLst/>
          </a:prstGeom>
        </p:spPr>
      </p:pic>
      <p:sp>
        <p:nvSpPr>
          <p:cNvPr id="11" name="Title 14">
            <a:extLst>
              <a:ext uri="{FF2B5EF4-FFF2-40B4-BE49-F238E27FC236}">
                <a16:creationId xmlns:a16="http://schemas.microsoft.com/office/drawing/2014/main" id="{7F63FC19-0049-335A-1512-9ED29668D051}"/>
              </a:ext>
            </a:extLst>
          </p:cNvPr>
          <p:cNvSpPr>
            <a:spLocks noGrp="1"/>
          </p:cNvSpPr>
          <p:nvPr>
            <p:ph type="title"/>
          </p:nvPr>
        </p:nvSpPr>
        <p:spPr>
          <a:xfrm>
            <a:off x="382589" y="2231644"/>
            <a:ext cx="5629274" cy="2502916"/>
          </a:xfrm>
          <a:prstGeom prst="rect">
            <a:avLst/>
          </a:prstGeom>
        </p:spPr>
        <p:txBody>
          <a:bodyPr vert="horz" anchor="b"/>
          <a:lstStyle>
            <a:lvl1pPr algn="l">
              <a:lnSpc>
                <a:spcPct val="85000"/>
              </a:lnSpc>
              <a:defRPr sz="5400" spc="-20" baseline="0">
                <a:solidFill>
                  <a:schemeClr val="bg1"/>
                </a:solidFill>
                <a:latin typeface="GT Ultra Median Lloyds Black" panose="020B0604020202020204" charset="0"/>
              </a:defRPr>
            </a:lvl1pPr>
          </a:lstStyle>
          <a:p>
            <a:r>
              <a:rPr lang="en-US"/>
              <a:t>Click to edit Master title style</a:t>
            </a:r>
            <a:endParaRPr lang="en-GB"/>
          </a:p>
        </p:txBody>
      </p:sp>
      <p:sp>
        <p:nvSpPr>
          <p:cNvPr id="10" name="Text Placeholder 3">
            <a:extLst>
              <a:ext uri="{FF2B5EF4-FFF2-40B4-BE49-F238E27FC236}">
                <a16:creationId xmlns:a16="http://schemas.microsoft.com/office/drawing/2014/main" id="{BA563372-E422-BD5A-2885-C8B29415B5AB}"/>
              </a:ext>
            </a:extLst>
          </p:cNvPr>
          <p:cNvSpPr>
            <a:spLocks noGrp="1"/>
          </p:cNvSpPr>
          <p:nvPr>
            <p:ph type="body" sz="quarter" idx="13"/>
          </p:nvPr>
        </p:nvSpPr>
        <p:spPr>
          <a:xfrm>
            <a:off x="382588" y="4977047"/>
            <a:ext cx="5629274" cy="666260"/>
          </a:xfrm>
        </p:spPr>
        <p:txBody>
          <a:bodyPr anchor="t"/>
          <a:lstStyle>
            <a:lvl1pPr algn="l">
              <a:lnSpc>
                <a:spcPct val="100000"/>
              </a:lnSpc>
              <a:defRPr b="0">
                <a:solidFill>
                  <a:schemeClr val="bg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2084B48-07B0-E83D-4365-996F7A8E405D}"/>
              </a:ext>
            </a:extLst>
          </p:cNvPr>
          <p:cNvSpPr>
            <a:spLocks noGrp="1"/>
          </p:cNvSpPr>
          <p:nvPr>
            <p:ph type="dt" sz="half" idx="12"/>
          </p:nvPr>
        </p:nvSpPr>
        <p:spPr/>
        <p:txBody>
          <a:bodyPr/>
          <a:lstStyle>
            <a:lvl1pPr>
              <a:defRPr>
                <a:solidFill>
                  <a:schemeClr val="bg1"/>
                </a:solidFill>
              </a:defRPr>
            </a:lvl1pPr>
          </a:lstStyle>
          <a:p>
            <a:fld id="{EEA0D3B0-A935-4A9C-83B8-A65E38C9F618}"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84628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5329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8582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2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76174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1820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1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5"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9"/>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9"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09757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0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
        <p:nvSpPr>
          <p:cNvPr id="4" name="Rectangle 3">
            <a:extLst>
              <a:ext uri="{FF2B5EF4-FFF2-40B4-BE49-F238E27FC236}">
                <a16:creationId xmlns:a16="http://schemas.microsoft.com/office/drawing/2014/main" id="{8CC1B68A-517D-8DB4-C857-92DBB4F5AAB9}"/>
              </a:ext>
              <a:ext uri="{C183D7F6-B498-43B3-948B-1728B52AA6E4}">
                <adec:decorative xmlns:adec="http://schemas.microsoft.com/office/drawing/2017/decorative" val="1"/>
              </a:ext>
            </a:extLst>
          </p:cNvPr>
          <p:cNvSpPr/>
          <p:nvPr userDrawn="1"/>
        </p:nvSpPr>
        <p:spPr>
          <a:xfrm>
            <a:off x="6096000" y="1191919"/>
            <a:ext cx="5276901" cy="5194377"/>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Tree>
    <p:extLst>
      <p:ext uri="{BB962C8B-B14F-4D97-AF65-F5344CB8AC3E}">
        <p14:creationId xmlns:p14="http://schemas.microsoft.com/office/powerpoint/2010/main" val="332682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9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105167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6663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5"/>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7" y="2457059"/>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6"/>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3"/>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1" y="1285432"/>
            <a:ext cx="5307105" cy="5147351"/>
          </a:xfrm>
          <a:prstGeom prst="rect">
            <a:avLst/>
          </a:prstGeom>
        </p:spPr>
        <p:txBody>
          <a:bodyPr/>
          <a:lstStyle/>
          <a:p>
            <a:endParaRPr lang="en-GB"/>
          </a:p>
        </p:txBody>
      </p:sp>
    </p:spTree>
    <p:extLst>
      <p:ext uri="{BB962C8B-B14F-4D97-AF65-F5344CB8AC3E}">
        <p14:creationId xmlns:p14="http://schemas.microsoft.com/office/powerpoint/2010/main" val="1789786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78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59443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attern 03)">
    <p:bg>
      <p:bgPr>
        <a:solidFill>
          <a:srgbClr val="6CF479"/>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BDDD1ED-9124-A2B3-74FC-7046C1AF761A}"/>
              </a:ext>
              <a:ext uri="{C183D7F6-B498-43B3-948B-1728B52AA6E4}">
                <adec:decorative xmlns:adec="http://schemas.microsoft.com/office/drawing/2017/decorative" val="1"/>
              </a:ext>
            </a:extLst>
          </p:cNvPr>
          <p:cNvSpPr/>
          <p:nvPr/>
        </p:nvSpPr>
        <p:spPr>
          <a:xfrm>
            <a:off x="963649" y="-36558"/>
            <a:ext cx="11228351" cy="6894558"/>
          </a:xfrm>
          <a:custGeom>
            <a:avLst/>
            <a:gdLst>
              <a:gd name="connsiteX0" fmla="*/ 8034388 w 11228351"/>
              <a:gd name="connsiteY0" fmla="*/ 0 h 6894558"/>
              <a:gd name="connsiteX1" fmla="*/ 11228351 w 11228351"/>
              <a:gd name="connsiteY1" fmla="*/ 0 h 6894558"/>
              <a:gd name="connsiteX2" fmla="*/ 11228351 w 11228351"/>
              <a:gd name="connsiteY2" fmla="*/ 6425603 h 6894558"/>
              <a:gd name="connsiteX3" fmla="*/ 11098933 w 11228351"/>
              <a:gd name="connsiteY3" fmla="*/ 6354780 h 6894558"/>
              <a:gd name="connsiteX4" fmla="*/ 11021575 w 11228351"/>
              <a:gd name="connsiteY4" fmla="*/ 3744794 h 6894558"/>
              <a:gd name="connsiteX5" fmla="*/ 11018307 w 11228351"/>
              <a:gd name="connsiteY5" fmla="*/ 3728402 h 6894558"/>
              <a:gd name="connsiteX6" fmla="*/ 6602573 w 11228351"/>
              <a:gd name="connsiteY6" fmla="*/ 6825115 h 6894558"/>
              <a:gd name="connsiteX7" fmla="*/ 6508516 w 11228351"/>
              <a:gd name="connsiteY7" fmla="*/ 6894558 h 6894558"/>
              <a:gd name="connsiteX8" fmla="*/ 1006167 w 11228351"/>
              <a:gd name="connsiteY8" fmla="*/ 6894558 h 6894558"/>
              <a:gd name="connsiteX9" fmla="*/ 901271 w 11228351"/>
              <a:gd name="connsiteY9" fmla="*/ 6787069 h 6894558"/>
              <a:gd name="connsiteX10" fmla="*/ 95699 w 11228351"/>
              <a:gd name="connsiteY10" fmla="*/ 5146542 h 6894558"/>
              <a:gd name="connsiteX11" fmla="*/ 1498729 w 11228351"/>
              <a:gd name="connsiteY11" fmla="*/ 976851 h 6894558"/>
              <a:gd name="connsiteX12" fmla="*/ 3805762 w 11228351"/>
              <a:gd name="connsiteY12" fmla="*/ 3529784 h 6894558"/>
              <a:gd name="connsiteX13" fmla="*/ 7630837 w 11228351"/>
              <a:gd name="connsiteY13" fmla="*/ 420523 h 689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28351" h="6894558">
                <a:moveTo>
                  <a:pt x="8034388" y="0"/>
                </a:moveTo>
                <a:lnTo>
                  <a:pt x="11228351" y="0"/>
                </a:lnTo>
                <a:lnTo>
                  <a:pt x="11228351" y="6425603"/>
                </a:lnTo>
                <a:lnTo>
                  <a:pt x="11098933" y="6354780"/>
                </a:lnTo>
                <a:cubicBezTo>
                  <a:pt x="10373922" y="5888274"/>
                  <a:pt x="10124041" y="4651874"/>
                  <a:pt x="11021575" y="3744794"/>
                </a:cubicBezTo>
                <a:lnTo>
                  <a:pt x="11018307" y="3728402"/>
                </a:lnTo>
                <a:cubicBezTo>
                  <a:pt x="9220389" y="4087257"/>
                  <a:pt x="8058942" y="5682374"/>
                  <a:pt x="6602573" y="6825115"/>
                </a:cubicBezTo>
                <a:lnTo>
                  <a:pt x="6508516" y="6894558"/>
                </a:lnTo>
                <a:lnTo>
                  <a:pt x="1006167" y="6894558"/>
                </a:lnTo>
                <a:lnTo>
                  <a:pt x="901271" y="6787069"/>
                </a:lnTo>
                <a:cubicBezTo>
                  <a:pt x="512315" y="6346131"/>
                  <a:pt x="225053" y="5794660"/>
                  <a:pt x="95699" y="5146542"/>
                </a:cubicBezTo>
                <a:cubicBezTo>
                  <a:pt x="-212195" y="3603975"/>
                  <a:pt x="214365" y="2012137"/>
                  <a:pt x="1498729" y="976851"/>
                </a:cubicBezTo>
                <a:cubicBezTo>
                  <a:pt x="1399590" y="2746763"/>
                  <a:pt x="2311043" y="3828139"/>
                  <a:pt x="3805762" y="3529784"/>
                </a:cubicBezTo>
                <a:cubicBezTo>
                  <a:pt x="5159410" y="3262055"/>
                  <a:pt x="6276177" y="1865334"/>
                  <a:pt x="7630837" y="420523"/>
                </a:cubicBezTo>
                <a:close/>
              </a:path>
            </a:pathLst>
          </a:custGeom>
          <a:solidFill>
            <a:srgbClr val="C7FFC6"/>
          </a:solidFill>
          <a:ln w="0" cap="flat">
            <a:noFill/>
            <a:prstDash val="solid"/>
            <a:miter/>
          </a:ln>
        </p:spPr>
        <p:txBody>
          <a:bodyPr rtlCol="0" anchor="ctr"/>
          <a:lstStyle/>
          <a:p>
            <a:endParaRPr lang="en-GB"/>
          </a:p>
        </p:txBody>
      </p:sp>
      <p:pic>
        <p:nvPicPr>
          <p:cNvPr id="11" name="Graphic 10" descr="Lloyds Banking Group logo">
            <a:extLst>
              <a:ext uri="{FF2B5EF4-FFF2-40B4-BE49-F238E27FC236}">
                <a16:creationId xmlns:a16="http://schemas.microsoft.com/office/drawing/2014/main" id="{BC59FA72-3D26-B248-B25A-E3C6015AC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3393" y="534749"/>
            <a:ext cx="1320657" cy="1113182"/>
          </a:xfrm>
          <a:prstGeom prst="rect">
            <a:avLst/>
          </a:prstGeom>
        </p:spPr>
      </p:pic>
      <p:sp>
        <p:nvSpPr>
          <p:cNvPr id="7" name="Title 14">
            <a:extLst>
              <a:ext uri="{FF2B5EF4-FFF2-40B4-BE49-F238E27FC236}">
                <a16:creationId xmlns:a16="http://schemas.microsoft.com/office/drawing/2014/main" id="{8E2F67DA-E733-557E-44F1-2359946A7B9B}"/>
              </a:ext>
            </a:extLst>
          </p:cNvPr>
          <p:cNvSpPr>
            <a:spLocks noGrp="1"/>
          </p:cNvSpPr>
          <p:nvPr>
            <p:ph type="title"/>
          </p:nvPr>
        </p:nvSpPr>
        <p:spPr>
          <a:xfrm>
            <a:off x="838200" y="2231644"/>
            <a:ext cx="10515600" cy="2116836"/>
          </a:xfrm>
          <a:prstGeom prst="rect">
            <a:avLst/>
          </a:prstGeom>
        </p:spPr>
        <p:txBody>
          <a:bodyPr vert="horz" anchor="ctr"/>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6" name="Text Placeholder 3">
            <a:extLst>
              <a:ext uri="{FF2B5EF4-FFF2-40B4-BE49-F238E27FC236}">
                <a16:creationId xmlns:a16="http://schemas.microsoft.com/office/drawing/2014/main" id="{C0C6E8F0-187D-2057-9F66-E0EFC516F74C}"/>
              </a:ext>
            </a:extLst>
          </p:cNvPr>
          <p:cNvSpPr>
            <a:spLocks noGrp="1"/>
          </p:cNvSpPr>
          <p:nvPr>
            <p:ph type="body" sz="quarter" idx="13"/>
          </p:nvPr>
        </p:nvSpPr>
        <p:spPr>
          <a:xfrm>
            <a:off x="838200" y="4484860"/>
            <a:ext cx="10515600" cy="666260"/>
          </a:xfrm>
        </p:spPr>
        <p:txBody>
          <a:bodyPr anchor="t"/>
          <a:lstStyle>
            <a:lvl1pPr algn="ctr">
              <a:lnSpc>
                <a:spcPct val="100000"/>
              </a:lnSpc>
              <a:defRPr b="0">
                <a:solidFill>
                  <a:schemeClr val="tx1"/>
                </a:solidFill>
              </a:defRPr>
            </a:lvl1pPr>
          </a:lstStyle>
          <a:p>
            <a:pPr lvl="0"/>
            <a:r>
              <a:rPr lang="en-US"/>
              <a:t>Click to edit Master text styles</a:t>
            </a:r>
          </a:p>
        </p:txBody>
      </p:sp>
      <p:sp>
        <p:nvSpPr>
          <p:cNvPr id="15" name="Date Placeholder 4">
            <a:extLst>
              <a:ext uri="{FF2B5EF4-FFF2-40B4-BE49-F238E27FC236}">
                <a16:creationId xmlns:a16="http://schemas.microsoft.com/office/drawing/2014/main" id="{9F1047D0-38CD-446B-C9A9-A58FE37ADD5D}"/>
              </a:ext>
            </a:extLst>
          </p:cNvPr>
          <p:cNvSpPr>
            <a:spLocks noGrp="1"/>
          </p:cNvSpPr>
          <p:nvPr>
            <p:ph type="dt" sz="half" idx="12"/>
          </p:nvPr>
        </p:nvSpPr>
        <p:spPr>
          <a:xfrm>
            <a:off x="382588" y="6552055"/>
            <a:ext cx="2743200" cy="152470"/>
          </a:xfrm>
        </p:spPr>
        <p:txBody>
          <a:bodyPr/>
          <a:lstStyle>
            <a:lvl1pPr>
              <a:defRPr>
                <a:solidFill>
                  <a:schemeClr val="tx1"/>
                </a:solidFill>
              </a:defRPr>
            </a:lvl1pPr>
          </a:lstStyle>
          <a:p>
            <a:fld id="{9419FA08-C6C0-4D25-A3B7-D98F01D85F75}"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8827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7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35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6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923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5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7"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7"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5588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4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7"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2651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3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565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2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3537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1_Slide Split with Grad">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34024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70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618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69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9554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68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0518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attern panel)">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89A3CC9-B675-0E7A-EB6D-5346135D880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9871" r="25144"/>
          <a:stretch/>
        </p:blipFill>
        <p:spPr>
          <a:xfrm rot="5400000">
            <a:off x="5715001" y="381001"/>
            <a:ext cx="6857998" cy="6096000"/>
          </a:xfrm>
          <a:prstGeom prst="rect">
            <a:avLst/>
          </a:prstGeom>
        </p:spPr>
      </p:pic>
      <p:pic>
        <p:nvPicPr>
          <p:cNvPr id="7" name="Graphic 6" descr="Lloyds Banking Group logo">
            <a:extLst>
              <a:ext uri="{FF2B5EF4-FFF2-40B4-BE49-F238E27FC236}">
                <a16:creationId xmlns:a16="http://schemas.microsoft.com/office/drawing/2014/main" id="{79EB8FA3-14B3-E29C-C1AF-A30A71E285F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447997" y="527129"/>
            <a:ext cx="1320657" cy="1113182"/>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377440"/>
            <a:ext cx="4920932" cy="263144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F8D3585D-EB60-4C76-BF44-EEF86963CA2C}" type="datetime3">
              <a:rPr lang="en-GB" smtClean="0"/>
              <a:t>5 December, 2025</a:t>
            </a:fld>
            <a:endParaRPr lang="en-GB"/>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
        <p:nvSpPr>
          <p:cNvPr id="31" name="Rectangle 30">
            <a:extLst>
              <a:ext uri="{FF2B5EF4-FFF2-40B4-BE49-F238E27FC236}">
                <a16:creationId xmlns:a16="http://schemas.microsoft.com/office/drawing/2014/main" id="{B0B1C338-4C1F-FC3D-EC14-3298FD64F3C5}"/>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405709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7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998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66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4465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6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4577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4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1157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3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8684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454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7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7465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319386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5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4635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0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406064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Animated Cancara)">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261E880-3FF7-CA24-1C31-54B135D8AA7D}"/>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41307" r="7347"/>
          <a:stretch/>
        </p:blipFill>
        <p:spPr>
          <a:xfrm flipH="1" flipV="1">
            <a:off x="6095997" y="0"/>
            <a:ext cx="6096002" cy="6857998"/>
          </a:xfrm>
          <a:prstGeom prst="rect">
            <a:avLst/>
          </a:prstGeom>
        </p:spPr>
      </p:pic>
      <p:pic>
        <p:nvPicPr>
          <p:cNvPr id="10" name="Picture 9" descr="Animated Lloyds Bank black horse rearing up">
            <a:extLst>
              <a:ext uri="{FF2B5EF4-FFF2-40B4-BE49-F238E27FC236}">
                <a16:creationId xmlns:a16="http://schemas.microsoft.com/office/drawing/2014/main" id="{04FD7BBE-B2CE-6E27-F492-B07999A5458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58078" y="538480"/>
            <a:ext cx="2900494" cy="2447288"/>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875279"/>
            <a:ext cx="4920932" cy="213360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14968BD0-970F-4068-9F7C-5324270A0D6B}" type="datetime3">
              <a:rPr lang="en-GB" smtClean="0"/>
              <a:t>5 December, 2025</a:t>
            </a:fld>
            <a:endParaRPr lang="en-GB"/>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
        <p:nvSpPr>
          <p:cNvPr id="31" name="Rectangle 30">
            <a:extLst>
              <a:ext uri="{FF2B5EF4-FFF2-40B4-BE49-F238E27FC236}">
                <a16:creationId xmlns:a16="http://schemas.microsoft.com/office/drawing/2014/main" id="{B0B1C338-4C1F-FC3D-EC14-3298FD64F3C5}"/>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86747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4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0773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9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7148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168421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7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3426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6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05148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25513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9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5"/>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1"/>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6"/>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1"/>
            <a:ext cx="4898365" cy="386260"/>
          </a:xfrm>
          <a:prstGeom prst="rect">
            <a:avLst/>
          </a:prstGeom>
        </p:spPr>
        <p:txBody>
          <a:bodyPr wrap="square">
            <a:spAutoFit/>
          </a:bodyPr>
          <a:lstStyle>
            <a:lvl1pPr>
              <a:tabLst>
                <a:tab pos="56805"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4"/>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9" y="379289"/>
            <a:ext cx="5105993"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7768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7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1"/>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9" y="379289"/>
            <a:ext cx="5105993" cy="795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1470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45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80"/>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6"/>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1888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4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989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08055-1A87-46C6-69F3-62E0865EE696}"/>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84D21CD5-0633-94D9-A29D-C6F23E98C3C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A885A2B-DC97-E8ED-9FD5-226839F49ECE}"/>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E8BDEC08-2778-A205-6833-902744E407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C8441D9-46E9-B335-9DE3-DA05CE65B66A}"/>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42855763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Image panel)">
    <p:bg>
      <p:bgPr>
        <a:solidFill>
          <a:schemeClr val="bg1"/>
        </a:solidFill>
        <a:effectLst/>
      </p:bgPr>
    </p:bg>
    <p:spTree>
      <p:nvGrpSpPr>
        <p:cNvPr id="1" name=""/>
        <p:cNvGrpSpPr/>
        <p:nvPr/>
      </p:nvGrpSpPr>
      <p:grpSpPr>
        <a:xfrm>
          <a:off x="0" y="0"/>
          <a:ext cx="0" cy="0"/>
          <a:chOff x="0" y="0"/>
          <a:chExt cx="0" cy="0"/>
        </a:xfrm>
      </p:grpSpPr>
      <p:pic>
        <p:nvPicPr>
          <p:cNvPr id="14" name="Graphic 13" descr="Lloyds Banking Group logo">
            <a:extLst>
              <a:ext uri="{FF2B5EF4-FFF2-40B4-BE49-F238E27FC236}">
                <a16:creationId xmlns:a16="http://schemas.microsoft.com/office/drawing/2014/main" id="{D582348C-7692-F2C1-83E3-367A607F315A}"/>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47997" y="527129"/>
            <a:ext cx="1320657" cy="1113182"/>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377440"/>
            <a:ext cx="4920932" cy="263144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7" name="Picture Placeholder 6">
            <a:extLst>
              <a:ext uri="{FF2B5EF4-FFF2-40B4-BE49-F238E27FC236}">
                <a16:creationId xmlns:a16="http://schemas.microsoft.com/office/drawing/2014/main" id="{17CA09D6-92BC-53CA-6F36-90FD65F4E859}"/>
              </a:ext>
            </a:extLst>
          </p:cNvPr>
          <p:cNvSpPr>
            <a:spLocks noGrp="1"/>
          </p:cNvSpPr>
          <p:nvPr>
            <p:ph type="pic" sz="quarter" idx="13"/>
          </p:nvPr>
        </p:nvSpPr>
        <p:spPr>
          <a:xfrm>
            <a:off x="6096000" y="0"/>
            <a:ext cx="6096000" cy="6858000"/>
          </a:xfrm>
          <a:noFill/>
        </p:spPr>
        <p:txBody>
          <a:bodyPr/>
          <a:lstStyle/>
          <a:p>
            <a:r>
              <a:rPr lang="en-US"/>
              <a:t>Click icon to add picture</a:t>
            </a:r>
            <a:endParaRPr lang="en-GB"/>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83ECB52E-8432-4F09-9CC9-668D71B36CEE}" type="datetime3">
              <a:rPr lang="en-GB" smtClean="0"/>
              <a:t>5 December, 2025</a:t>
            </a:fld>
            <a:endParaRPr lang="en-GB"/>
          </a:p>
        </p:txBody>
      </p:sp>
      <p:sp>
        <p:nvSpPr>
          <p:cNvPr id="2" name="Rectangle 1">
            <a:extLst>
              <a:ext uri="{FF2B5EF4-FFF2-40B4-BE49-F238E27FC236}">
                <a16:creationId xmlns:a16="http://schemas.microsoft.com/office/drawing/2014/main" id="{76F44CA1-EEE8-DE50-D202-9C926B9CA67C}"/>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44956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4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5117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4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5061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4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5340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4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8085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3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4191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3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420608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37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244268"/>
            <a:ext cx="7268946" cy="578614"/>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1877444"/>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2510621"/>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3147125"/>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3783630"/>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28" y="1403008"/>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28" y="205589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7" y="266936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7" y="329843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7" y="394237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
        <p:nvSpPr>
          <p:cNvPr id="7" name="Rectangle 6">
            <a:extLst>
              <a:ext uri="{FF2B5EF4-FFF2-40B4-BE49-F238E27FC236}">
                <a16:creationId xmlns:a16="http://schemas.microsoft.com/office/drawing/2014/main" id="{7186F4D2-1A58-4876-77D6-0872D9858AC8}"/>
              </a:ext>
            </a:extLst>
          </p:cNvPr>
          <p:cNvSpPr/>
          <p:nvPr userDrawn="1"/>
        </p:nvSpPr>
        <p:spPr>
          <a:xfrm>
            <a:off x="2461529" y="4420133"/>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18">
            <a:extLst>
              <a:ext uri="{FF2B5EF4-FFF2-40B4-BE49-F238E27FC236}">
                <a16:creationId xmlns:a16="http://schemas.microsoft.com/office/drawing/2014/main" id="{5A13A665-D3DC-4672-B084-24E1F3B05060}"/>
              </a:ext>
            </a:extLst>
          </p:cNvPr>
          <p:cNvSpPr>
            <a:spLocks noGrp="1"/>
          </p:cNvSpPr>
          <p:nvPr>
            <p:ph type="body" sz="quarter" idx="20"/>
          </p:nvPr>
        </p:nvSpPr>
        <p:spPr>
          <a:xfrm>
            <a:off x="2692927" y="45788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9" name="Rectangle 8">
            <a:extLst>
              <a:ext uri="{FF2B5EF4-FFF2-40B4-BE49-F238E27FC236}">
                <a16:creationId xmlns:a16="http://schemas.microsoft.com/office/drawing/2014/main" id="{2B95CCF2-E7F9-B278-2086-7E35F8FD7729}"/>
              </a:ext>
            </a:extLst>
          </p:cNvPr>
          <p:cNvSpPr/>
          <p:nvPr userDrawn="1"/>
        </p:nvSpPr>
        <p:spPr>
          <a:xfrm>
            <a:off x="2461529" y="5054372"/>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 name="Text Placeholder 18">
            <a:extLst>
              <a:ext uri="{FF2B5EF4-FFF2-40B4-BE49-F238E27FC236}">
                <a16:creationId xmlns:a16="http://schemas.microsoft.com/office/drawing/2014/main" id="{9C3D30B7-E2F6-42A6-BB9F-79475F409BF8}"/>
              </a:ext>
            </a:extLst>
          </p:cNvPr>
          <p:cNvSpPr>
            <a:spLocks noGrp="1"/>
          </p:cNvSpPr>
          <p:nvPr>
            <p:ph type="body" sz="quarter" idx="20"/>
          </p:nvPr>
        </p:nvSpPr>
        <p:spPr>
          <a:xfrm>
            <a:off x="2692927" y="521311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11" name="Rectangle 10">
            <a:extLst>
              <a:ext uri="{FF2B5EF4-FFF2-40B4-BE49-F238E27FC236}">
                <a16:creationId xmlns:a16="http://schemas.microsoft.com/office/drawing/2014/main" id="{58DF374E-0544-9A8A-5AA0-45C6D3058AE6}"/>
              </a:ext>
            </a:extLst>
          </p:cNvPr>
          <p:cNvSpPr/>
          <p:nvPr userDrawn="1"/>
        </p:nvSpPr>
        <p:spPr>
          <a:xfrm>
            <a:off x="2461529" y="5688611"/>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8">
            <a:extLst>
              <a:ext uri="{FF2B5EF4-FFF2-40B4-BE49-F238E27FC236}">
                <a16:creationId xmlns:a16="http://schemas.microsoft.com/office/drawing/2014/main" id="{2FCE9538-4F2D-0B21-9580-E653FC8FCC56}"/>
              </a:ext>
            </a:extLst>
          </p:cNvPr>
          <p:cNvSpPr>
            <a:spLocks noGrp="1"/>
          </p:cNvSpPr>
          <p:nvPr>
            <p:ph type="body" sz="quarter" idx="20"/>
          </p:nvPr>
        </p:nvSpPr>
        <p:spPr>
          <a:xfrm>
            <a:off x="2692927" y="584735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Tree>
    <p:extLst>
      <p:ext uri="{BB962C8B-B14F-4D97-AF65-F5344CB8AC3E}">
        <p14:creationId xmlns:p14="http://schemas.microsoft.com/office/powerpoint/2010/main" val="21436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3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9140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3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315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3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3595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Colour)">
    <p:bg>
      <p:bgPr>
        <a:solidFill>
          <a:schemeClr val="bg1"/>
        </a:solidFill>
        <a:effectLst/>
      </p:bgPr>
    </p:bg>
    <p:spTree>
      <p:nvGrpSpPr>
        <p:cNvPr id="1" name=""/>
        <p:cNvGrpSpPr/>
        <p:nvPr/>
      </p:nvGrpSpPr>
      <p:grpSpPr>
        <a:xfrm>
          <a:off x="0" y="0"/>
          <a:ext cx="0" cy="0"/>
          <a:chOff x="0" y="0"/>
          <a:chExt cx="0" cy="0"/>
        </a:xfrm>
      </p:grpSpPr>
      <p:pic>
        <p:nvPicPr>
          <p:cNvPr id="15" name="Graphic 14" descr="Lloyds Banking Group logo">
            <a:extLst>
              <a:ext uri="{FF2B5EF4-FFF2-40B4-BE49-F238E27FC236}">
                <a16:creationId xmlns:a16="http://schemas.microsoft.com/office/drawing/2014/main" id="{EFBA2F05-62DB-1A8D-EC4A-A666FD08D5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5672" y="534749"/>
            <a:ext cx="1320657" cy="1113182"/>
          </a:xfrm>
          <a:prstGeom prst="rect">
            <a:avLst/>
          </a:prstGeom>
        </p:spPr>
      </p:pic>
      <p:sp>
        <p:nvSpPr>
          <p:cNvPr id="13" name="Title 14">
            <a:extLst>
              <a:ext uri="{FF2B5EF4-FFF2-40B4-BE49-F238E27FC236}">
                <a16:creationId xmlns:a16="http://schemas.microsoft.com/office/drawing/2014/main" id="{C6B29EDE-75F8-B7C2-577C-3A2216ED3233}"/>
              </a:ext>
            </a:extLst>
          </p:cNvPr>
          <p:cNvSpPr>
            <a:spLocks noGrp="1"/>
          </p:cNvSpPr>
          <p:nvPr>
            <p:ph type="title"/>
          </p:nvPr>
        </p:nvSpPr>
        <p:spPr>
          <a:xfrm>
            <a:off x="838200" y="2231644"/>
            <a:ext cx="10515600" cy="2116836"/>
          </a:xfrm>
          <a:prstGeom prst="rect">
            <a:avLst/>
          </a:prstGeom>
        </p:spPr>
        <p:txBody>
          <a:bodyPr vert="horz" anchor="ctr"/>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1" name="Text Placeholder 3">
            <a:extLst>
              <a:ext uri="{FF2B5EF4-FFF2-40B4-BE49-F238E27FC236}">
                <a16:creationId xmlns:a16="http://schemas.microsoft.com/office/drawing/2014/main" id="{D89B0417-70F8-D265-9C17-F4AA6C9DD27A}"/>
              </a:ext>
            </a:extLst>
          </p:cNvPr>
          <p:cNvSpPr>
            <a:spLocks noGrp="1"/>
          </p:cNvSpPr>
          <p:nvPr>
            <p:ph type="body" sz="quarter" idx="13"/>
          </p:nvPr>
        </p:nvSpPr>
        <p:spPr>
          <a:xfrm>
            <a:off x="838200" y="4484860"/>
            <a:ext cx="10515600" cy="666260"/>
          </a:xfrm>
        </p:spPr>
        <p:txBody>
          <a:bodyPr anchor="t"/>
          <a:lstStyle>
            <a:lvl1pPr algn="ctr">
              <a:lnSpc>
                <a:spcPct val="100000"/>
              </a:lnSpc>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p>
            <a:fld id="{A5615EC7-CF73-4228-9C2B-564CF011EB98}"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5602AB8D-C6B2-371D-5D84-79B6B57217E7}"/>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311387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3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3903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3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91394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3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67371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3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3440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2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7664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2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1" y="235910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1"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1"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1"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1"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1"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300604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2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90"/>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1" y="235910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1"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1"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1"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1"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1"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269018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2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12849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25_Title Only">
    <p:bg bwMode="auto">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19397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2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7" y="302366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7" y="4728541"/>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7" y="1318615"/>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22536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Slide (Animated Cancara)">
    <p:bg>
      <p:bgPr>
        <a:solidFill>
          <a:schemeClr val="bg1"/>
        </a:solidFill>
        <a:effectLst/>
      </p:bgPr>
    </p:bg>
    <p:spTree>
      <p:nvGrpSpPr>
        <p:cNvPr id="1" name=""/>
        <p:cNvGrpSpPr/>
        <p:nvPr/>
      </p:nvGrpSpPr>
      <p:grpSpPr>
        <a:xfrm>
          <a:off x="0" y="0"/>
          <a:ext cx="0" cy="0"/>
          <a:chOff x="0" y="0"/>
          <a:chExt cx="0" cy="0"/>
        </a:xfrm>
      </p:grpSpPr>
      <p:pic>
        <p:nvPicPr>
          <p:cNvPr id="11" name="Picture 10" descr="An animated Lloyds Bank black horse  rearing up">
            <a:extLst>
              <a:ext uri="{FF2B5EF4-FFF2-40B4-BE49-F238E27FC236}">
                <a16:creationId xmlns:a16="http://schemas.microsoft.com/office/drawing/2014/main" id="{813752FE-90C8-A2AD-6B90-E0D60188B4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77360" y="605868"/>
            <a:ext cx="3637280" cy="3068950"/>
          </a:xfrm>
          <a:prstGeom prst="rect">
            <a:avLst/>
          </a:prstGeom>
        </p:spPr>
      </p:pic>
      <p:sp>
        <p:nvSpPr>
          <p:cNvPr id="7" name="Title 14">
            <a:extLst>
              <a:ext uri="{FF2B5EF4-FFF2-40B4-BE49-F238E27FC236}">
                <a16:creationId xmlns:a16="http://schemas.microsoft.com/office/drawing/2014/main" id="{9181B16B-58DD-C85B-194F-82D1B9DF25A3}"/>
              </a:ext>
            </a:extLst>
          </p:cNvPr>
          <p:cNvSpPr>
            <a:spLocks noGrp="1"/>
          </p:cNvSpPr>
          <p:nvPr>
            <p:ph type="title" hasCustomPrompt="1"/>
          </p:nvPr>
        </p:nvSpPr>
        <p:spPr>
          <a:xfrm>
            <a:off x="396240" y="3566160"/>
            <a:ext cx="11399520" cy="1709392"/>
          </a:xfrm>
          <a:prstGeom prst="rect">
            <a:avLst/>
          </a:prstGeom>
        </p:spPr>
        <p:txBody>
          <a:bodyPr vert="horz" anchor="b"/>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a:t>
            </a:r>
            <a:br>
              <a:rPr lang="en-US"/>
            </a:br>
            <a:r>
              <a:rPr lang="en-US"/>
              <a:t>title style</a:t>
            </a:r>
            <a:endParaRPr lang="en-GB"/>
          </a:p>
        </p:txBody>
      </p:sp>
      <p:sp>
        <p:nvSpPr>
          <p:cNvPr id="8" name="Text Placeholder 3">
            <a:extLst>
              <a:ext uri="{FF2B5EF4-FFF2-40B4-BE49-F238E27FC236}">
                <a16:creationId xmlns:a16="http://schemas.microsoft.com/office/drawing/2014/main" id="{66C051A2-E63A-882E-14DE-DDB8729347FA}"/>
              </a:ext>
            </a:extLst>
          </p:cNvPr>
          <p:cNvSpPr>
            <a:spLocks noGrp="1"/>
          </p:cNvSpPr>
          <p:nvPr>
            <p:ph type="body" sz="quarter" idx="14"/>
          </p:nvPr>
        </p:nvSpPr>
        <p:spPr>
          <a:xfrm>
            <a:off x="396240" y="5426565"/>
            <a:ext cx="11399520" cy="66626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p>
            <a:fld id="{A0EC35DF-B254-4C84-9120-D905F6E687A5}"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5602AB8D-C6B2-371D-5D84-79B6B57217E7}"/>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22059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2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26355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2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7202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2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74950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Divider image + text whit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84BC52E-4C2F-85AD-D9D3-6B3B7E1B70E6}"/>
              </a:ext>
            </a:extLst>
          </p:cNvPr>
          <p:cNvSpPr>
            <a:spLocks noGrp="1"/>
          </p:cNvSpPr>
          <p:nvPr>
            <p:ph type="pic" sz="quarter" idx="12" hasCustomPrompt="1"/>
          </p:nvPr>
        </p:nvSpPr>
        <p:spPr>
          <a:xfrm>
            <a:off x="0" y="0"/>
            <a:ext cx="12192000" cy="6858000"/>
          </a:xfrm>
          <a:solidFill>
            <a:schemeClr val="tx1"/>
          </a:solidFill>
        </p:spPr>
        <p:txBody>
          <a:bodyPr/>
          <a:lstStyle>
            <a:lvl1pPr algn="ctr">
              <a:defRPr>
                <a:solidFill>
                  <a:schemeClr val="bg1"/>
                </a:solidFill>
              </a:defRPr>
            </a:lvl1pPr>
          </a:lstStyle>
          <a:p>
            <a:r>
              <a:rPr lang="en-US"/>
              <a:t>Drag and drop image and send to back</a:t>
            </a:r>
          </a:p>
        </p:txBody>
      </p:sp>
      <p:sp>
        <p:nvSpPr>
          <p:cNvPr id="6" name="Title 5">
            <a:extLst>
              <a:ext uri="{FF2B5EF4-FFF2-40B4-BE49-F238E27FC236}">
                <a16:creationId xmlns:a16="http://schemas.microsoft.com/office/drawing/2014/main" id="{7E6A846F-A6D7-2328-76D2-ED0B51C24A50}"/>
              </a:ext>
            </a:extLst>
          </p:cNvPr>
          <p:cNvSpPr>
            <a:spLocks noGrp="1"/>
          </p:cNvSpPr>
          <p:nvPr>
            <p:ph type="title" hasCustomPrompt="1"/>
          </p:nvPr>
        </p:nvSpPr>
        <p:spPr>
          <a:xfrm>
            <a:off x="323850" y="2947273"/>
            <a:ext cx="10515600" cy="629887"/>
          </a:xfrm>
        </p:spPr>
        <p:txBody>
          <a:bodyPr/>
          <a:lstStyle>
            <a:lvl1pPr>
              <a:defRPr>
                <a:solidFill>
                  <a:schemeClr val="bg1"/>
                </a:solidFill>
              </a:defRPr>
            </a:lvl1pPr>
          </a:lstStyle>
          <a:p>
            <a:r>
              <a:rPr lang="en-GB"/>
              <a:t>Click to edit title</a:t>
            </a:r>
            <a:endParaRPr lang="en-US"/>
          </a:p>
        </p:txBody>
      </p:sp>
      <p:pic>
        <p:nvPicPr>
          <p:cNvPr id="3" name="Picture 2" descr="Logo&#10;&#10;Description automatically generated">
            <a:extLst>
              <a:ext uri="{FF2B5EF4-FFF2-40B4-BE49-F238E27FC236}">
                <a16:creationId xmlns:a16="http://schemas.microsoft.com/office/drawing/2014/main" id="{DEC1FC13-77C0-4B6B-5346-4BA76EF1CC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5663" y="5933549"/>
            <a:ext cx="1369125" cy="809979"/>
          </a:xfrm>
          <a:prstGeom prst="rect">
            <a:avLst/>
          </a:prstGeom>
        </p:spPr>
      </p:pic>
      <p:sp>
        <p:nvSpPr>
          <p:cNvPr id="2" name="Text Placeholder 8">
            <a:extLst>
              <a:ext uri="{FF2B5EF4-FFF2-40B4-BE49-F238E27FC236}">
                <a16:creationId xmlns:a16="http://schemas.microsoft.com/office/drawing/2014/main" id="{7D5A6DBA-EE7C-DF2E-E6C9-D9EB1200523E}"/>
              </a:ext>
            </a:extLst>
          </p:cNvPr>
          <p:cNvSpPr>
            <a:spLocks noGrp="1"/>
          </p:cNvSpPr>
          <p:nvPr>
            <p:ph type="body" sz="quarter" idx="13" hasCustomPrompt="1"/>
          </p:nvPr>
        </p:nvSpPr>
        <p:spPr>
          <a:xfrm>
            <a:off x="1204602" y="3756608"/>
            <a:ext cx="10733616" cy="1164788"/>
          </a:xfrm>
        </p:spPr>
        <p:txBody>
          <a:bodyPr lIns="0" tIns="0" rIns="0" bIns="0">
            <a:noAutofit/>
          </a:bodyPr>
          <a:lstStyle>
            <a:lvl1pPr marL="0" indent="0">
              <a:lnSpc>
                <a:spcPct val="75000"/>
              </a:lnSpc>
              <a:spcBef>
                <a:spcPts val="0"/>
              </a:spcBef>
              <a:buNone/>
              <a:defRPr sz="10668" b="1" i="0">
                <a:gradFill>
                  <a:gsLst>
                    <a:gs pos="0">
                      <a:schemeClr val="accent5"/>
                    </a:gs>
                    <a:gs pos="100000">
                      <a:schemeClr val="accent6"/>
                    </a:gs>
                  </a:gsLst>
                  <a:lin ang="0" scaled="1"/>
                </a:gradFill>
                <a:latin typeface="Poppins ExtraBold" pitchFamily="2" charset="77"/>
                <a:cs typeface="Poppins ExtraBold" pitchFamily="2" charset="77"/>
              </a:defRPr>
            </a:lvl1pPr>
            <a:lvl2pPr marL="457241" indent="0">
              <a:buNone/>
              <a:defRPr sz="10668" b="1" i="0">
                <a:latin typeface="AvenirNext LT Pro Heavy" panose="020B0504020202020204" pitchFamily="34" charset="77"/>
              </a:defRPr>
            </a:lvl2pPr>
            <a:lvl3pPr marL="914480" indent="0">
              <a:buNone/>
              <a:defRPr sz="10668" b="1" i="0">
                <a:latin typeface="AvenirNext LT Pro Heavy" panose="020B0504020202020204" pitchFamily="34" charset="77"/>
              </a:defRPr>
            </a:lvl3pPr>
            <a:lvl4pPr marL="1371722" indent="0">
              <a:buNone/>
              <a:defRPr sz="10668" b="1" i="0">
                <a:latin typeface="AvenirNext LT Pro Heavy" panose="020B0504020202020204" pitchFamily="34" charset="77"/>
              </a:defRPr>
            </a:lvl4pPr>
            <a:lvl5pPr marL="1828962" indent="0">
              <a:buNone/>
              <a:defRPr sz="10668" b="1" i="0">
                <a:latin typeface="AvenirNext LT Pro Heavy" panose="020B0504020202020204" pitchFamily="34" charset="77"/>
              </a:defRPr>
            </a:lvl5pPr>
          </a:lstStyle>
          <a:p>
            <a:pPr lvl="0"/>
            <a:r>
              <a:rPr lang="en-GB"/>
              <a:t>Highlight</a:t>
            </a:r>
            <a:endParaRPr lang="en-US"/>
          </a:p>
        </p:txBody>
      </p:sp>
    </p:spTree>
    <p:extLst>
      <p:ext uri="{BB962C8B-B14F-4D97-AF65-F5344CB8AC3E}">
        <p14:creationId xmlns:p14="http://schemas.microsoft.com/office/powerpoint/2010/main" val="356766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8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0346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5807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19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9300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1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6" y="766997"/>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358210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452047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0" y="100181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29" y="194592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288630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8" y="382468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475349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Rectangle 5">
            <a:extLst>
              <a:ext uri="{FF2B5EF4-FFF2-40B4-BE49-F238E27FC236}">
                <a16:creationId xmlns:a16="http://schemas.microsoft.com/office/drawing/2014/main" id="{64CFD1B5-00F9-5427-B21C-60CA835EFEBB}"/>
              </a:ext>
            </a:extLst>
          </p:cNvPr>
          <p:cNvSpPr/>
          <p:nvPr userDrawn="1"/>
        </p:nvSpPr>
        <p:spPr>
          <a:xfrm>
            <a:off x="2461528" y="5458848"/>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388095CB-B2C4-C200-1851-4DB9FA5A1F0A}"/>
              </a:ext>
            </a:extLst>
          </p:cNvPr>
          <p:cNvSpPr/>
          <p:nvPr userDrawn="1"/>
        </p:nvSpPr>
        <p:spPr>
          <a:xfrm>
            <a:off x="2461526" y="168422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Rectangle 7">
            <a:extLst>
              <a:ext uri="{FF2B5EF4-FFF2-40B4-BE49-F238E27FC236}">
                <a16:creationId xmlns:a16="http://schemas.microsoft.com/office/drawing/2014/main" id="{4ACAC0A9-995E-0373-42A5-7A37490CAE19}"/>
              </a:ext>
            </a:extLst>
          </p:cNvPr>
          <p:cNvSpPr/>
          <p:nvPr userDrawn="1"/>
        </p:nvSpPr>
        <p:spPr>
          <a:xfrm>
            <a:off x="2461526" y="2618222"/>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Tree>
    <p:extLst>
      <p:ext uri="{BB962C8B-B14F-4D97-AF65-F5344CB8AC3E}">
        <p14:creationId xmlns:p14="http://schemas.microsoft.com/office/powerpoint/2010/main" val="405037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1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0308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1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76934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Expressive Cancara)">
    <p:bg>
      <p:bgPr>
        <a:solidFill>
          <a:srgbClr val="006A4D"/>
        </a:solidFill>
        <a:effectLst/>
      </p:bgPr>
    </p:bg>
    <p:spTree>
      <p:nvGrpSpPr>
        <p:cNvPr id="1" name=""/>
        <p:cNvGrpSpPr/>
        <p:nvPr/>
      </p:nvGrpSpPr>
      <p:grpSpPr>
        <a:xfrm>
          <a:off x="0" y="0"/>
          <a:ext cx="0" cy="0"/>
          <a:chOff x="0" y="0"/>
          <a:chExt cx="0" cy="0"/>
        </a:xfrm>
      </p:grpSpPr>
      <p:grpSp>
        <p:nvGrpSpPr>
          <p:cNvPr id="7" name="Group 6" descr="Close up of Lloyds Banking Group logo">
            <a:extLst>
              <a:ext uri="{FF2B5EF4-FFF2-40B4-BE49-F238E27FC236}">
                <a16:creationId xmlns:a16="http://schemas.microsoft.com/office/drawing/2014/main" id="{E3CB87BB-1B97-7321-8BD0-EAB38BB87CA9}"/>
              </a:ext>
            </a:extLst>
          </p:cNvPr>
          <p:cNvGrpSpPr/>
          <p:nvPr userDrawn="1"/>
        </p:nvGrpSpPr>
        <p:grpSpPr>
          <a:xfrm>
            <a:off x="2246644" y="270852"/>
            <a:ext cx="7698713" cy="6587148"/>
            <a:chOff x="2246644" y="270852"/>
            <a:chExt cx="7698713" cy="6587148"/>
          </a:xfrm>
        </p:grpSpPr>
        <p:sp>
          <p:nvSpPr>
            <p:cNvPr id="22" name="Freeform: Shape 21">
              <a:extLst>
                <a:ext uri="{FF2B5EF4-FFF2-40B4-BE49-F238E27FC236}">
                  <a16:creationId xmlns:a16="http://schemas.microsoft.com/office/drawing/2014/main" id="{38D06D6E-0228-80AC-BCAE-6764C210D111}"/>
                </a:ext>
              </a:extLst>
            </p:cNvPr>
            <p:cNvSpPr/>
            <p:nvPr/>
          </p:nvSpPr>
          <p:spPr>
            <a:xfrm>
              <a:off x="2246644" y="270852"/>
              <a:ext cx="7698713" cy="6587148"/>
            </a:xfrm>
            <a:custGeom>
              <a:avLst/>
              <a:gdLst>
                <a:gd name="connsiteX0" fmla="*/ 4797344 w 7698713"/>
                <a:gd name="connsiteY0" fmla="*/ 0 h 6587148"/>
                <a:gd name="connsiteX1" fmla="*/ 4898085 w 7698713"/>
                <a:gd name="connsiteY1" fmla="*/ 215575 h 6587148"/>
                <a:gd name="connsiteX2" fmla="*/ 4900081 w 7698713"/>
                <a:gd name="connsiteY2" fmla="*/ 215575 h 6587148"/>
                <a:gd name="connsiteX3" fmla="*/ 4988745 w 7698713"/>
                <a:gd name="connsiteY3" fmla="*/ 36264 h 6587148"/>
                <a:gd name="connsiteX4" fmla="*/ 5053202 w 7698713"/>
                <a:gd name="connsiteY4" fmla="*/ 298182 h 6587148"/>
                <a:gd name="connsiteX5" fmla="*/ 5039128 w 7698713"/>
                <a:gd name="connsiteY5" fmla="*/ 354602 h 6587148"/>
                <a:gd name="connsiteX6" fmla="*/ 5250668 w 7698713"/>
                <a:gd name="connsiteY6" fmla="*/ 634665 h 6587148"/>
                <a:gd name="connsiteX7" fmla="*/ 5230530 w 7698713"/>
                <a:gd name="connsiteY7" fmla="*/ 721307 h 6587148"/>
                <a:gd name="connsiteX8" fmla="*/ 5714075 w 7698713"/>
                <a:gd name="connsiteY8" fmla="*/ 1331795 h 6587148"/>
                <a:gd name="connsiteX9" fmla="*/ 5754376 w 7698713"/>
                <a:gd name="connsiteY9" fmla="*/ 1444622 h 6587148"/>
                <a:gd name="connsiteX10" fmla="*/ 5484393 w 7698713"/>
                <a:gd name="connsiteY10" fmla="*/ 1706553 h 6587148"/>
                <a:gd name="connsiteX11" fmla="*/ 5262771 w 7698713"/>
                <a:gd name="connsiteY11" fmla="*/ 1579615 h 6587148"/>
                <a:gd name="connsiteX12" fmla="*/ 4841663 w 7698713"/>
                <a:gd name="connsiteY12" fmla="*/ 1374103 h 6587148"/>
                <a:gd name="connsiteX13" fmla="*/ 4789283 w 7698713"/>
                <a:gd name="connsiteY13" fmla="*/ 1555439 h 6587148"/>
                <a:gd name="connsiteX14" fmla="*/ 5603277 w 7698713"/>
                <a:gd name="connsiteY14" fmla="*/ 2637378 h 6587148"/>
                <a:gd name="connsiteX15" fmla="*/ 6252045 w 7698713"/>
                <a:gd name="connsiteY15" fmla="*/ 2421815 h 6587148"/>
                <a:gd name="connsiteX16" fmla="*/ 7507285 w 7698713"/>
                <a:gd name="connsiteY16" fmla="*/ 3489671 h 6587148"/>
                <a:gd name="connsiteX17" fmla="*/ 7698713 w 7698713"/>
                <a:gd name="connsiteY17" fmla="*/ 3733450 h 6587148"/>
                <a:gd name="connsiteX18" fmla="*/ 7118444 w 7698713"/>
                <a:gd name="connsiteY18" fmla="*/ 3733450 h 6587148"/>
                <a:gd name="connsiteX19" fmla="*/ 7118444 w 7698713"/>
                <a:gd name="connsiteY19" fmla="*/ 3564209 h 6587148"/>
                <a:gd name="connsiteX20" fmla="*/ 6959258 w 7698713"/>
                <a:gd name="connsiteY20" fmla="*/ 3519890 h 6587148"/>
                <a:gd name="connsiteX21" fmla="*/ 6207726 w 7698713"/>
                <a:gd name="connsiteY21" fmla="*/ 2875144 h 6587148"/>
                <a:gd name="connsiteX22" fmla="*/ 5641557 w 7698713"/>
                <a:gd name="connsiteY22" fmla="*/ 3354667 h 6587148"/>
                <a:gd name="connsiteX23" fmla="*/ 6582469 w 7698713"/>
                <a:gd name="connsiteY23" fmla="*/ 3415107 h 6587148"/>
                <a:gd name="connsiteX24" fmla="*/ 6431369 w 7698713"/>
                <a:gd name="connsiteY24" fmla="*/ 4710638 h 6587148"/>
                <a:gd name="connsiteX25" fmla="*/ 6308468 w 7698713"/>
                <a:gd name="connsiteY25" fmla="*/ 5043106 h 6587148"/>
                <a:gd name="connsiteX26" fmla="*/ 5982062 w 7698713"/>
                <a:gd name="connsiteY26" fmla="*/ 5321148 h 6587148"/>
                <a:gd name="connsiteX27" fmla="*/ 5982062 w 7698713"/>
                <a:gd name="connsiteY27" fmla="*/ 4748944 h 6587148"/>
                <a:gd name="connsiteX28" fmla="*/ 6157343 w 7698713"/>
                <a:gd name="connsiteY28" fmla="*/ 4748944 h 6587148"/>
                <a:gd name="connsiteX29" fmla="*/ 6108981 w 7698713"/>
                <a:gd name="connsiteY29" fmla="*/ 4567600 h 6587148"/>
                <a:gd name="connsiteX30" fmla="*/ 6270188 w 7698713"/>
                <a:gd name="connsiteY30" fmla="*/ 3797932 h 6587148"/>
                <a:gd name="connsiteX31" fmla="*/ 6254067 w 7698713"/>
                <a:gd name="connsiteY31" fmla="*/ 3701234 h 6587148"/>
                <a:gd name="connsiteX32" fmla="*/ 6147287 w 7698713"/>
                <a:gd name="connsiteY32" fmla="*/ 3713312 h 6587148"/>
                <a:gd name="connsiteX33" fmla="*/ 5593195 w 7698713"/>
                <a:gd name="connsiteY33" fmla="*/ 4035672 h 6587148"/>
                <a:gd name="connsiteX34" fmla="*/ 4950465 w 7698713"/>
                <a:gd name="connsiteY34" fmla="*/ 4265377 h 6587148"/>
                <a:gd name="connsiteX35" fmla="*/ 3266055 w 7698713"/>
                <a:gd name="connsiteY35" fmla="*/ 4777142 h 6587148"/>
                <a:gd name="connsiteX36" fmla="*/ 2653545 w 7698713"/>
                <a:gd name="connsiteY36" fmla="*/ 5822830 h 6587148"/>
                <a:gd name="connsiteX37" fmla="*/ 2917490 w 7698713"/>
                <a:gd name="connsiteY37" fmla="*/ 6322517 h 6587148"/>
                <a:gd name="connsiteX38" fmla="*/ 3067594 w 7698713"/>
                <a:gd name="connsiteY38" fmla="*/ 6544019 h 6587148"/>
                <a:gd name="connsiteX39" fmla="*/ 3098931 w 7698713"/>
                <a:gd name="connsiteY39" fmla="*/ 6587148 h 6587148"/>
                <a:gd name="connsiteX40" fmla="*/ 2739729 w 7698713"/>
                <a:gd name="connsiteY40" fmla="*/ 6587148 h 6587148"/>
                <a:gd name="connsiteX41" fmla="*/ 2633399 w 7698713"/>
                <a:gd name="connsiteY41" fmla="*/ 6441886 h 6587148"/>
                <a:gd name="connsiteX42" fmla="*/ 2105504 w 7698713"/>
                <a:gd name="connsiteY42" fmla="*/ 5887312 h 6587148"/>
                <a:gd name="connsiteX43" fmla="*/ 2258645 w 7698713"/>
                <a:gd name="connsiteY43" fmla="*/ 5296967 h 6587148"/>
                <a:gd name="connsiteX44" fmla="*/ 1758953 w 7698713"/>
                <a:gd name="connsiteY44" fmla="*/ 5784550 h 6587148"/>
                <a:gd name="connsiteX45" fmla="*/ 1793206 w 7698713"/>
                <a:gd name="connsiteY45" fmla="*/ 6213716 h 6587148"/>
                <a:gd name="connsiteX46" fmla="*/ 1872826 w 7698713"/>
                <a:gd name="connsiteY46" fmla="*/ 6558522 h 6587148"/>
                <a:gd name="connsiteX47" fmla="*/ 1882602 w 7698713"/>
                <a:gd name="connsiteY47" fmla="*/ 6587148 h 6587148"/>
                <a:gd name="connsiteX48" fmla="*/ 1600806 w 7698713"/>
                <a:gd name="connsiteY48" fmla="*/ 6587148 h 6587148"/>
                <a:gd name="connsiteX49" fmla="*/ 1579950 w 7698713"/>
                <a:gd name="connsiteY49" fmla="*/ 6472838 h 6587148"/>
                <a:gd name="connsiteX50" fmla="*/ 1237111 w 7698713"/>
                <a:gd name="connsiteY50" fmla="*/ 5552849 h 6587148"/>
                <a:gd name="connsiteX51" fmla="*/ 1585684 w 7698713"/>
                <a:gd name="connsiteY51" fmla="*/ 4980620 h 6587148"/>
                <a:gd name="connsiteX52" fmla="*/ 1351962 w 7698713"/>
                <a:gd name="connsiteY52" fmla="*/ 4188818 h 6587148"/>
                <a:gd name="connsiteX53" fmla="*/ 1527255 w 7698713"/>
                <a:gd name="connsiteY53" fmla="*/ 3703230 h 6587148"/>
                <a:gd name="connsiteX54" fmla="*/ 1251223 w 7698713"/>
                <a:gd name="connsiteY54" fmla="*/ 3548088 h 6587148"/>
                <a:gd name="connsiteX55" fmla="*/ 991298 w 7698713"/>
                <a:gd name="connsiteY55" fmla="*/ 3834216 h 6587148"/>
                <a:gd name="connsiteX56" fmla="*/ 1130328 w 7698713"/>
                <a:gd name="connsiteY56" fmla="*/ 4094116 h 6587148"/>
                <a:gd name="connsiteX57" fmla="*/ 789820 w 7698713"/>
                <a:gd name="connsiteY57" fmla="*/ 4055835 h 6587148"/>
                <a:gd name="connsiteX58" fmla="*/ 787811 w 7698713"/>
                <a:gd name="connsiteY58" fmla="*/ 4055835 h 6587148"/>
                <a:gd name="connsiteX59" fmla="*/ 1146451 w 7698713"/>
                <a:gd name="connsiteY59" fmla="*/ 4990701 h 6587148"/>
                <a:gd name="connsiteX60" fmla="*/ 693101 w 7698713"/>
                <a:gd name="connsiteY60" fmla="*/ 5450087 h 6587148"/>
                <a:gd name="connsiteX61" fmla="*/ 209547 w 7698713"/>
                <a:gd name="connsiteY61" fmla="*/ 5172045 h 6587148"/>
                <a:gd name="connsiteX62" fmla="*/ 584309 w 7698713"/>
                <a:gd name="connsiteY62" fmla="*/ 4948404 h 6587148"/>
                <a:gd name="connsiteX63" fmla="*/ 0 w 7698713"/>
                <a:gd name="connsiteY63" fmla="*/ 3656889 h 6587148"/>
                <a:gd name="connsiteX64" fmla="*/ 771688 w 7698713"/>
                <a:gd name="connsiteY64" fmla="*/ 2927523 h 6587148"/>
                <a:gd name="connsiteX65" fmla="*/ 1732769 w 7698713"/>
                <a:gd name="connsiteY65" fmla="*/ 3536011 h 6587148"/>
                <a:gd name="connsiteX66" fmla="*/ 2178048 w 7698713"/>
                <a:gd name="connsiteY66" fmla="*/ 3352671 h 6587148"/>
                <a:gd name="connsiteX67" fmla="*/ 3536039 w 7698713"/>
                <a:gd name="connsiteY67" fmla="*/ 3173349 h 6587148"/>
                <a:gd name="connsiteX68" fmla="*/ 3864466 w 7698713"/>
                <a:gd name="connsiteY68" fmla="*/ 2806644 h 6587148"/>
                <a:gd name="connsiteX69" fmla="*/ 3761704 w 7698713"/>
                <a:gd name="connsiteY69" fmla="*/ 2687761 h 6587148"/>
                <a:gd name="connsiteX70" fmla="*/ 3658941 w 7698713"/>
                <a:gd name="connsiteY70" fmla="*/ 2768364 h 6587148"/>
                <a:gd name="connsiteX71" fmla="*/ 3556203 w 7698713"/>
                <a:gd name="connsiteY71" fmla="*/ 2554782 h 6587148"/>
                <a:gd name="connsiteX72" fmla="*/ 3636781 w 7698713"/>
                <a:gd name="connsiteY72" fmla="*/ 2319051 h 6587148"/>
                <a:gd name="connsiteX73" fmla="*/ 3386935 w 7698713"/>
                <a:gd name="connsiteY73" fmla="*/ 2292866 h 6587148"/>
                <a:gd name="connsiteX74" fmla="*/ 3618664 w 7698713"/>
                <a:gd name="connsiteY74" fmla="*/ 1752896 h 6587148"/>
                <a:gd name="connsiteX75" fmla="*/ 3618664 w 7698713"/>
                <a:gd name="connsiteY75" fmla="*/ 1750869 h 6587148"/>
                <a:gd name="connsiteX76" fmla="*/ 3251956 w 7698713"/>
                <a:gd name="connsiteY76" fmla="*/ 1281417 h 6587148"/>
                <a:gd name="connsiteX77" fmla="*/ 3350676 w 7698713"/>
                <a:gd name="connsiteY77" fmla="*/ 1323725 h 6587148"/>
                <a:gd name="connsiteX78" fmla="*/ 3435298 w 7698713"/>
                <a:gd name="connsiteY78" fmla="*/ 1220978 h 6587148"/>
                <a:gd name="connsiteX79" fmla="*/ 3237858 w 7698713"/>
                <a:gd name="connsiteY79" fmla="*/ 944948 h 6587148"/>
                <a:gd name="connsiteX80" fmla="*/ 3759707 w 7698713"/>
                <a:gd name="connsiteY80" fmla="*/ 775702 h 6587148"/>
                <a:gd name="connsiteX81" fmla="*/ 3761704 w 7698713"/>
                <a:gd name="connsiteY81" fmla="*/ 773691 h 6587148"/>
                <a:gd name="connsiteX82" fmla="*/ 3767742 w 7698713"/>
                <a:gd name="connsiteY82" fmla="*/ 376766 h 6587148"/>
                <a:gd name="connsiteX83" fmla="*/ 3941027 w 7698713"/>
                <a:gd name="connsiteY83" fmla="*/ 461384 h 6587148"/>
                <a:gd name="connsiteX84" fmla="*/ 4420554 w 7698713"/>
                <a:gd name="connsiteY84" fmla="*/ 141037 h 6587148"/>
                <a:gd name="connsiteX85" fmla="*/ 4545477 w 7698713"/>
                <a:gd name="connsiteY85" fmla="*/ 358635 h 6587148"/>
                <a:gd name="connsiteX86" fmla="*/ 4797344 w 7698713"/>
                <a:gd name="connsiteY86" fmla="*/ 0 h 658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698713" h="6587148">
                  <a:moveTo>
                    <a:pt x="4797344" y="0"/>
                  </a:moveTo>
                  <a:cubicBezTo>
                    <a:pt x="4861827" y="36264"/>
                    <a:pt x="4908167" y="98714"/>
                    <a:pt x="4898085" y="215575"/>
                  </a:cubicBezTo>
                  <a:lnTo>
                    <a:pt x="4900081" y="215575"/>
                  </a:lnTo>
                  <a:lnTo>
                    <a:pt x="4988745" y="36264"/>
                  </a:lnTo>
                  <a:cubicBezTo>
                    <a:pt x="5063284" y="98714"/>
                    <a:pt x="5077383" y="203486"/>
                    <a:pt x="5053202" y="298182"/>
                  </a:cubicBezTo>
                  <a:cubicBezTo>
                    <a:pt x="5047163" y="322358"/>
                    <a:pt x="5039128" y="340503"/>
                    <a:pt x="5039128" y="354602"/>
                  </a:cubicBezTo>
                  <a:cubicBezTo>
                    <a:pt x="5039128" y="425120"/>
                    <a:pt x="5250668" y="477507"/>
                    <a:pt x="5250668" y="634665"/>
                  </a:cubicBezTo>
                  <a:cubicBezTo>
                    <a:pt x="5250668" y="660852"/>
                    <a:pt x="5242608" y="689060"/>
                    <a:pt x="5230530" y="721307"/>
                  </a:cubicBezTo>
                  <a:lnTo>
                    <a:pt x="5714075" y="1331795"/>
                  </a:lnTo>
                  <a:cubicBezTo>
                    <a:pt x="5744295" y="1370068"/>
                    <a:pt x="5754376" y="1410367"/>
                    <a:pt x="5754376" y="1444622"/>
                  </a:cubicBezTo>
                  <a:cubicBezTo>
                    <a:pt x="5754376" y="1571560"/>
                    <a:pt x="5643578" y="1706553"/>
                    <a:pt x="5484393" y="1706553"/>
                  </a:cubicBezTo>
                  <a:cubicBezTo>
                    <a:pt x="5327229" y="1706553"/>
                    <a:pt x="5270806" y="1619911"/>
                    <a:pt x="5262771" y="1579615"/>
                  </a:cubicBezTo>
                  <a:lnTo>
                    <a:pt x="4841663" y="1374103"/>
                  </a:lnTo>
                  <a:cubicBezTo>
                    <a:pt x="4817482" y="1414402"/>
                    <a:pt x="4789283" y="1480885"/>
                    <a:pt x="4789283" y="1555439"/>
                  </a:cubicBezTo>
                  <a:cubicBezTo>
                    <a:pt x="4789283" y="2018847"/>
                    <a:pt x="5444091" y="2030935"/>
                    <a:pt x="5603277" y="2637378"/>
                  </a:cubicBezTo>
                  <a:lnTo>
                    <a:pt x="6252045" y="2421815"/>
                  </a:lnTo>
                  <a:cubicBezTo>
                    <a:pt x="6715452" y="2873122"/>
                    <a:pt x="7205061" y="3310348"/>
                    <a:pt x="7507285" y="3489671"/>
                  </a:cubicBezTo>
                  <a:lnTo>
                    <a:pt x="7698713" y="3733450"/>
                  </a:lnTo>
                  <a:lnTo>
                    <a:pt x="7118444" y="3733450"/>
                  </a:lnTo>
                  <a:lnTo>
                    <a:pt x="7118444" y="3564209"/>
                  </a:lnTo>
                  <a:lnTo>
                    <a:pt x="6959258" y="3519890"/>
                  </a:lnTo>
                  <a:cubicBezTo>
                    <a:pt x="6715452" y="3137065"/>
                    <a:pt x="6385029" y="2927523"/>
                    <a:pt x="6207726" y="2875144"/>
                  </a:cubicBezTo>
                  <a:cubicBezTo>
                    <a:pt x="5992118" y="3006105"/>
                    <a:pt x="5830937" y="3143129"/>
                    <a:pt x="5641557" y="3354667"/>
                  </a:cubicBezTo>
                  <a:cubicBezTo>
                    <a:pt x="5949821" y="3330512"/>
                    <a:pt x="6294369" y="3360732"/>
                    <a:pt x="6582469" y="3415107"/>
                  </a:cubicBezTo>
                  <a:lnTo>
                    <a:pt x="6431369" y="4710638"/>
                  </a:lnTo>
                  <a:lnTo>
                    <a:pt x="6308468" y="5043106"/>
                  </a:lnTo>
                  <a:lnTo>
                    <a:pt x="5982062" y="5321148"/>
                  </a:lnTo>
                  <a:lnTo>
                    <a:pt x="5982062" y="4748944"/>
                  </a:lnTo>
                  <a:lnTo>
                    <a:pt x="6157343" y="4748944"/>
                  </a:lnTo>
                  <a:lnTo>
                    <a:pt x="6108981" y="4567600"/>
                  </a:lnTo>
                  <a:cubicBezTo>
                    <a:pt x="6252045" y="4188818"/>
                    <a:pt x="6270188" y="3934931"/>
                    <a:pt x="6270188" y="3797932"/>
                  </a:cubicBezTo>
                  <a:cubicBezTo>
                    <a:pt x="6270188" y="3755609"/>
                    <a:pt x="6268166" y="3715333"/>
                    <a:pt x="6254067" y="3701234"/>
                  </a:cubicBezTo>
                  <a:cubicBezTo>
                    <a:pt x="6241964" y="3689131"/>
                    <a:pt x="6191606" y="3701234"/>
                    <a:pt x="6147287" y="3713312"/>
                  </a:cubicBezTo>
                  <a:cubicBezTo>
                    <a:pt x="6030424" y="3745553"/>
                    <a:pt x="5838997" y="3836212"/>
                    <a:pt x="5593195" y="4035672"/>
                  </a:cubicBezTo>
                  <a:cubicBezTo>
                    <a:pt x="5371573" y="4217016"/>
                    <a:pt x="5250668" y="4299615"/>
                    <a:pt x="4950465" y="4265377"/>
                  </a:cubicBezTo>
                  <a:cubicBezTo>
                    <a:pt x="4611955" y="4615962"/>
                    <a:pt x="3894686" y="4785202"/>
                    <a:pt x="3266055" y="4777142"/>
                  </a:cubicBezTo>
                  <a:cubicBezTo>
                    <a:pt x="3217693" y="5286885"/>
                    <a:pt x="2653545" y="5581047"/>
                    <a:pt x="2653545" y="5822830"/>
                  </a:cubicBezTo>
                  <a:cubicBezTo>
                    <a:pt x="2653545" y="5909472"/>
                    <a:pt x="2736145" y="6050514"/>
                    <a:pt x="2917490" y="6322517"/>
                  </a:cubicBezTo>
                  <a:cubicBezTo>
                    <a:pt x="2967861" y="6398073"/>
                    <a:pt x="3017602" y="6472872"/>
                    <a:pt x="3067594" y="6544019"/>
                  </a:cubicBezTo>
                  <a:lnTo>
                    <a:pt x="3098931" y="6587148"/>
                  </a:lnTo>
                  <a:lnTo>
                    <a:pt x="2739729" y="6587148"/>
                  </a:lnTo>
                  <a:lnTo>
                    <a:pt x="2633399" y="6441886"/>
                  </a:lnTo>
                  <a:cubicBezTo>
                    <a:pt x="2484803" y="6256019"/>
                    <a:pt x="2309006" y="6068643"/>
                    <a:pt x="2105504" y="5887312"/>
                  </a:cubicBezTo>
                  <a:cubicBezTo>
                    <a:pt x="2204234" y="5689848"/>
                    <a:pt x="2256621" y="5488367"/>
                    <a:pt x="2258645" y="5296967"/>
                  </a:cubicBezTo>
                  <a:cubicBezTo>
                    <a:pt x="2075283" y="5572987"/>
                    <a:pt x="1807321" y="5575008"/>
                    <a:pt x="1758953" y="5784550"/>
                  </a:cubicBezTo>
                  <a:cubicBezTo>
                    <a:pt x="1740819" y="5863132"/>
                    <a:pt x="1750898" y="6016251"/>
                    <a:pt x="1793206" y="6213716"/>
                  </a:cubicBezTo>
                  <a:cubicBezTo>
                    <a:pt x="1816631" y="6325534"/>
                    <a:pt x="1839204" y="6445285"/>
                    <a:pt x="1872826" y="6558522"/>
                  </a:cubicBezTo>
                  <a:lnTo>
                    <a:pt x="1882602" y="6587148"/>
                  </a:lnTo>
                  <a:lnTo>
                    <a:pt x="1600806" y="6587148"/>
                  </a:lnTo>
                  <a:lnTo>
                    <a:pt x="1579950" y="6472838"/>
                  </a:lnTo>
                  <a:cubicBezTo>
                    <a:pt x="1482674" y="6022802"/>
                    <a:pt x="1329291" y="5726625"/>
                    <a:pt x="1237111" y="5552849"/>
                  </a:cubicBezTo>
                  <a:cubicBezTo>
                    <a:pt x="1368085" y="5466207"/>
                    <a:pt x="1585684" y="5266747"/>
                    <a:pt x="1585684" y="4980620"/>
                  </a:cubicBezTo>
                  <a:cubicBezTo>
                    <a:pt x="1585684" y="4702603"/>
                    <a:pt x="1351962" y="4543419"/>
                    <a:pt x="1351962" y="4188818"/>
                  </a:cubicBezTo>
                  <a:cubicBezTo>
                    <a:pt x="1351962" y="3993375"/>
                    <a:pt x="1418446" y="3830173"/>
                    <a:pt x="1527255" y="3703230"/>
                  </a:cubicBezTo>
                  <a:cubicBezTo>
                    <a:pt x="1456736" y="3602489"/>
                    <a:pt x="1374129" y="3548088"/>
                    <a:pt x="1251223" y="3548088"/>
                  </a:cubicBezTo>
                  <a:cubicBezTo>
                    <a:pt x="1114204" y="3548088"/>
                    <a:pt x="991298" y="3660933"/>
                    <a:pt x="991298" y="3834216"/>
                  </a:cubicBezTo>
                  <a:cubicBezTo>
                    <a:pt x="991298" y="3934931"/>
                    <a:pt x="1035632" y="4045754"/>
                    <a:pt x="1130328" y="4094116"/>
                  </a:cubicBezTo>
                  <a:cubicBezTo>
                    <a:pt x="1061817" y="4188818"/>
                    <a:pt x="886526" y="4198874"/>
                    <a:pt x="789820" y="4055835"/>
                  </a:cubicBezTo>
                  <a:lnTo>
                    <a:pt x="787811" y="4055835"/>
                  </a:lnTo>
                  <a:cubicBezTo>
                    <a:pt x="787811" y="4394317"/>
                    <a:pt x="1146451" y="4630061"/>
                    <a:pt x="1146451" y="4990701"/>
                  </a:cubicBezTo>
                  <a:cubicBezTo>
                    <a:pt x="1146451" y="5224424"/>
                    <a:pt x="961078" y="5450087"/>
                    <a:pt x="693101" y="5450087"/>
                  </a:cubicBezTo>
                  <a:cubicBezTo>
                    <a:pt x="493631" y="5450087"/>
                    <a:pt x="306252" y="5357406"/>
                    <a:pt x="209547" y="5172045"/>
                  </a:cubicBezTo>
                  <a:cubicBezTo>
                    <a:pt x="427147" y="5228467"/>
                    <a:pt x="584309" y="5141825"/>
                    <a:pt x="584309" y="4948404"/>
                  </a:cubicBezTo>
                  <a:cubicBezTo>
                    <a:pt x="584309" y="4597820"/>
                    <a:pt x="0" y="4253274"/>
                    <a:pt x="0" y="3656889"/>
                  </a:cubicBezTo>
                  <a:cubicBezTo>
                    <a:pt x="0" y="3187448"/>
                    <a:pt x="360664" y="2927523"/>
                    <a:pt x="771688" y="2927523"/>
                  </a:cubicBezTo>
                  <a:cubicBezTo>
                    <a:pt x="1146451" y="2927523"/>
                    <a:pt x="1480912" y="3100806"/>
                    <a:pt x="1732769" y="3536011"/>
                  </a:cubicBezTo>
                  <a:cubicBezTo>
                    <a:pt x="1861716" y="3439287"/>
                    <a:pt x="2018879" y="3384887"/>
                    <a:pt x="2178048" y="3352671"/>
                  </a:cubicBezTo>
                  <a:cubicBezTo>
                    <a:pt x="2607206" y="3268026"/>
                    <a:pt x="3133073" y="3344585"/>
                    <a:pt x="3536039" y="3173349"/>
                  </a:cubicBezTo>
                  <a:cubicBezTo>
                    <a:pt x="3715363" y="3096789"/>
                    <a:pt x="3864466" y="2961786"/>
                    <a:pt x="3864466" y="2806644"/>
                  </a:cubicBezTo>
                  <a:cubicBezTo>
                    <a:pt x="3864466" y="2732106"/>
                    <a:pt x="3822143" y="2687761"/>
                    <a:pt x="3761704" y="2687761"/>
                  </a:cubicBezTo>
                  <a:cubicBezTo>
                    <a:pt x="3731484" y="2687761"/>
                    <a:pt x="3685144" y="2701860"/>
                    <a:pt x="3658941" y="2768364"/>
                  </a:cubicBezTo>
                  <a:cubicBezTo>
                    <a:pt x="3580384" y="2699865"/>
                    <a:pt x="3556203" y="2627322"/>
                    <a:pt x="3556203" y="2554782"/>
                  </a:cubicBezTo>
                  <a:cubicBezTo>
                    <a:pt x="3556203" y="2433903"/>
                    <a:pt x="3594457" y="2377481"/>
                    <a:pt x="3636781" y="2319051"/>
                  </a:cubicBezTo>
                  <a:cubicBezTo>
                    <a:pt x="3596505" y="2214280"/>
                    <a:pt x="3471556" y="2190101"/>
                    <a:pt x="3386935" y="2292866"/>
                  </a:cubicBezTo>
                  <a:cubicBezTo>
                    <a:pt x="3282176" y="2099442"/>
                    <a:pt x="3346660" y="1833476"/>
                    <a:pt x="3618664" y="1752896"/>
                  </a:cubicBezTo>
                  <a:lnTo>
                    <a:pt x="3618664" y="1750869"/>
                  </a:lnTo>
                  <a:cubicBezTo>
                    <a:pt x="3300319" y="1698485"/>
                    <a:pt x="3215698" y="1501041"/>
                    <a:pt x="3251956" y="1281417"/>
                  </a:cubicBezTo>
                  <a:cubicBezTo>
                    <a:pt x="3282176" y="1307617"/>
                    <a:pt x="3316439" y="1323725"/>
                    <a:pt x="3350676" y="1323725"/>
                  </a:cubicBezTo>
                  <a:cubicBezTo>
                    <a:pt x="3403082" y="1323725"/>
                    <a:pt x="3435298" y="1281417"/>
                    <a:pt x="3435298" y="1220978"/>
                  </a:cubicBezTo>
                  <a:cubicBezTo>
                    <a:pt x="3435298" y="1156503"/>
                    <a:pt x="3403082" y="1055765"/>
                    <a:pt x="3237858" y="944948"/>
                  </a:cubicBezTo>
                  <a:cubicBezTo>
                    <a:pt x="3382918" y="727348"/>
                    <a:pt x="3632763" y="695104"/>
                    <a:pt x="3759707" y="775702"/>
                  </a:cubicBezTo>
                  <a:lnTo>
                    <a:pt x="3761704" y="773691"/>
                  </a:lnTo>
                  <a:cubicBezTo>
                    <a:pt x="3697221" y="685028"/>
                    <a:pt x="3664979" y="529891"/>
                    <a:pt x="3767742" y="376766"/>
                  </a:cubicBezTo>
                  <a:cubicBezTo>
                    <a:pt x="3791923" y="411021"/>
                    <a:pt x="3850367" y="461384"/>
                    <a:pt x="3941027" y="461384"/>
                  </a:cubicBezTo>
                  <a:cubicBezTo>
                    <a:pt x="4206993" y="461384"/>
                    <a:pt x="4217076" y="169232"/>
                    <a:pt x="4420554" y="141037"/>
                  </a:cubicBezTo>
                  <a:cubicBezTo>
                    <a:pt x="4408476" y="231697"/>
                    <a:pt x="4432632" y="358635"/>
                    <a:pt x="4545477" y="358635"/>
                  </a:cubicBezTo>
                  <a:cubicBezTo>
                    <a:pt x="4692559" y="358635"/>
                    <a:pt x="4761059" y="137002"/>
                    <a:pt x="4797344" y="0"/>
                  </a:cubicBezTo>
                  <a:close/>
                </a:path>
              </a:pathLst>
            </a:custGeom>
            <a:solidFill>
              <a:srgbClr val="000000"/>
            </a:solidFill>
            <a:ln w="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1A4FCC2-4C3C-125B-0668-D058CE7F7E67}"/>
                </a:ext>
              </a:extLst>
            </p:cNvPr>
            <p:cNvSpPr/>
            <p:nvPr/>
          </p:nvSpPr>
          <p:spPr>
            <a:xfrm>
              <a:off x="2438372" y="702017"/>
              <a:ext cx="5435703" cy="3896673"/>
            </a:xfrm>
            <a:custGeom>
              <a:avLst/>
              <a:gdLst>
                <a:gd name="connsiteX0" fmla="*/ 606147 w 5435703"/>
                <a:gd name="connsiteY0" fmla="*/ 2659560 h 3896673"/>
                <a:gd name="connsiteX1" fmla="*/ 1017171 w 5435703"/>
                <a:gd name="connsiteY1" fmla="*/ 2798607 h 3896673"/>
                <a:gd name="connsiteX2" fmla="*/ 285797 w 5435703"/>
                <a:gd name="connsiteY2" fmla="*/ 3094765 h 3896673"/>
                <a:gd name="connsiteX3" fmla="*/ 217287 w 5435703"/>
                <a:gd name="connsiteY3" fmla="*/ 2921507 h 3896673"/>
                <a:gd name="connsiteX4" fmla="*/ 13784 w 5435703"/>
                <a:gd name="connsiteY4" fmla="*/ 3270070 h 3896673"/>
                <a:gd name="connsiteX5" fmla="*/ 606147 w 5435703"/>
                <a:gd name="connsiteY5" fmla="*/ 2659560 h 3896673"/>
                <a:gd name="connsiteX6" fmla="*/ 2167655 w 5435703"/>
                <a:gd name="connsiteY6" fmla="*/ 3062549 h 3896673"/>
                <a:gd name="connsiteX7" fmla="*/ 3525656 w 5435703"/>
                <a:gd name="connsiteY7" fmla="*/ 2842926 h 3896673"/>
                <a:gd name="connsiteX8" fmla="*/ 3934661 w 5435703"/>
                <a:gd name="connsiteY8" fmla="*/ 2343239 h 3896673"/>
                <a:gd name="connsiteX9" fmla="*/ 3594156 w 5435703"/>
                <a:gd name="connsiteY9" fmla="*/ 1208890 h 3896673"/>
                <a:gd name="connsiteX10" fmla="*/ 4210683 w 5435703"/>
                <a:gd name="connsiteY10" fmla="*/ 145070 h 3896673"/>
                <a:gd name="connsiteX11" fmla="*/ 3791622 w 5435703"/>
                <a:gd name="connsiteY11" fmla="*/ 1015466 h 3896673"/>
                <a:gd name="connsiteX12" fmla="*/ 4381947 w 5435703"/>
                <a:gd name="connsiteY12" fmla="*/ 1902001 h 3896673"/>
                <a:gd name="connsiteX13" fmla="*/ 5133504 w 5435703"/>
                <a:gd name="connsiteY13" fmla="*/ 2300942 h 3896673"/>
                <a:gd name="connsiteX14" fmla="*/ 4770814 w 5435703"/>
                <a:gd name="connsiteY14" fmla="*/ 2180037 h 3896673"/>
                <a:gd name="connsiteX15" fmla="*/ 3100530 w 5435703"/>
                <a:gd name="connsiteY15" fmla="*/ 3753610 h 3896673"/>
                <a:gd name="connsiteX16" fmla="*/ 2318757 w 5435703"/>
                <a:gd name="connsiteY16" fmla="*/ 3201545 h 3896673"/>
                <a:gd name="connsiteX17" fmla="*/ 1375826 w 5435703"/>
                <a:gd name="connsiteY17" fmla="*/ 3896674 h 3896673"/>
                <a:gd name="connsiteX18" fmla="*/ 2167655 w 5435703"/>
                <a:gd name="connsiteY18" fmla="*/ 3062549 h 3896673"/>
                <a:gd name="connsiteX19" fmla="*/ 5197962 w 5435703"/>
                <a:gd name="connsiteY19" fmla="*/ 1075921 h 3896673"/>
                <a:gd name="connsiteX20" fmla="*/ 5218125 w 5435703"/>
                <a:gd name="connsiteY20" fmla="*/ 932860 h 3896673"/>
                <a:gd name="connsiteX21" fmla="*/ 5179845 w 5435703"/>
                <a:gd name="connsiteY21" fmla="*/ 824069 h 3896673"/>
                <a:gd name="connsiteX22" fmla="*/ 4960220 w 5435703"/>
                <a:gd name="connsiteY22" fmla="*/ 539970 h 3896673"/>
                <a:gd name="connsiteX23" fmla="*/ 4595534 w 5435703"/>
                <a:gd name="connsiteY23" fmla="*/ 396924 h 3896673"/>
                <a:gd name="connsiteX24" fmla="*/ 4748655 w 5435703"/>
                <a:gd name="connsiteY24" fmla="*/ 191413 h 3896673"/>
                <a:gd name="connsiteX25" fmla="*/ 4657995 w 5435703"/>
                <a:gd name="connsiteY25" fmla="*/ 0 h 3896673"/>
                <a:gd name="connsiteX26" fmla="*/ 4954181 w 5435703"/>
                <a:gd name="connsiteY26" fmla="*/ 219624 h 3896673"/>
                <a:gd name="connsiteX27" fmla="*/ 4917896 w 5435703"/>
                <a:gd name="connsiteY27" fmla="*/ 290142 h 3896673"/>
                <a:gd name="connsiteX28" fmla="*/ 5435704 w 5435703"/>
                <a:gd name="connsiteY28" fmla="*/ 938903 h 3896673"/>
                <a:gd name="connsiteX29" fmla="*/ 5343022 w 5435703"/>
                <a:gd name="connsiteY29" fmla="*/ 955027 h 3896673"/>
                <a:gd name="connsiteX30" fmla="*/ 5306764 w 5435703"/>
                <a:gd name="connsiteY30" fmla="*/ 993314 h 3896673"/>
                <a:gd name="connsiteX31" fmla="*/ 5361165 w 5435703"/>
                <a:gd name="connsiteY31" fmla="*/ 1122264 h 3896673"/>
                <a:gd name="connsiteX32" fmla="*/ 5282583 w 5435703"/>
                <a:gd name="connsiteY32" fmla="*/ 1144415 h 3896673"/>
                <a:gd name="connsiteX33" fmla="*/ 5197962 w 5435703"/>
                <a:gd name="connsiteY33" fmla="*/ 1075923 h 389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435703" h="3896673">
                  <a:moveTo>
                    <a:pt x="606147" y="2659560"/>
                  </a:moveTo>
                  <a:cubicBezTo>
                    <a:pt x="727042" y="2659560"/>
                    <a:pt x="898300" y="2687784"/>
                    <a:pt x="1017171" y="2798607"/>
                  </a:cubicBezTo>
                  <a:cubicBezTo>
                    <a:pt x="735097" y="2669642"/>
                    <a:pt x="316017" y="2754262"/>
                    <a:pt x="285797" y="3094765"/>
                  </a:cubicBezTo>
                  <a:cubicBezTo>
                    <a:pt x="237428" y="3042386"/>
                    <a:pt x="221322" y="2977903"/>
                    <a:pt x="217287" y="2921507"/>
                  </a:cubicBezTo>
                  <a:cubicBezTo>
                    <a:pt x="112513" y="2969843"/>
                    <a:pt x="33941" y="3114903"/>
                    <a:pt x="13784" y="3270070"/>
                  </a:cubicBezTo>
                  <a:cubicBezTo>
                    <a:pt x="-68823" y="2899348"/>
                    <a:pt x="231386" y="2659560"/>
                    <a:pt x="606147" y="2659560"/>
                  </a:cubicBezTo>
                  <a:close/>
                  <a:moveTo>
                    <a:pt x="2167655" y="3062549"/>
                  </a:moveTo>
                  <a:cubicBezTo>
                    <a:pt x="2558516" y="3014162"/>
                    <a:pt x="3090448" y="3058506"/>
                    <a:pt x="3525656" y="2842926"/>
                  </a:cubicBezTo>
                  <a:cubicBezTo>
                    <a:pt x="3729160" y="2742185"/>
                    <a:pt x="3934661" y="2572919"/>
                    <a:pt x="3934661" y="2343239"/>
                  </a:cubicBezTo>
                  <a:cubicBezTo>
                    <a:pt x="3934661" y="2067214"/>
                    <a:pt x="3594156" y="1795203"/>
                    <a:pt x="3594156" y="1208890"/>
                  </a:cubicBezTo>
                  <a:cubicBezTo>
                    <a:pt x="3594156" y="826077"/>
                    <a:pt x="3763398" y="384837"/>
                    <a:pt x="4210683" y="145070"/>
                  </a:cubicBezTo>
                  <a:cubicBezTo>
                    <a:pt x="3926601" y="390881"/>
                    <a:pt x="3791622" y="672952"/>
                    <a:pt x="3791622" y="1015466"/>
                  </a:cubicBezTo>
                  <a:cubicBezTo>
                    <a:pt x="3791622" y="1360004"/>
                    <a:pt x="3926601" y="1722676"/>
                    <a:pt x="4381947" y="1902001"/>
                  </a:cubicBezTo>
                  <a:cubicBezTo>
                    <a:pt x="4704336" y="2028923"/>
                    <a:pt x="5004539" y="2032959"/>
                    <a:pt x="5133504" y="2300942"/>
                  </a:cubicBezTo>
                  <a:cubicBezTo>
                    <a:pt x="5018638" y="2210257"/>
                    <a:pt x="4873577" y="2180037"/>
                    <a:pt x="4770814" y="2180037"/>
                  </a:cubicBezTo>
                  <a:cubicBezTo>
                    <a:pt x="4116006" y="2180037"/>
                    <a:pt x="3868182" y="3405048"/>
                    <a:pt x="3100530" y="3753610"/>
                  </a:cubicBezTo>
                  <a:cubicBezTo>
                    <a:pt x="3263732" y="3328488"/>
                    <a:pt x="2772102" y="3191488"/>
                    <a:pt x="2318757" y="3201545"/>
                  </a:cubicBezTo>
                  <a:cubicBezTo>
                    <a:pt x="1948029" y="3209630"/>
                    <a:pt x="1381867" y="3310346"/>
                    <a:pt x="1375826" y="3896674"/>
                  </a:cubicBezTo>
                  <a:cubicBezTo>
                    <a:pt x="1271052" y="3503792"/>
                    <a:pt x="1496706" y="3145148"/>
                    <a:pt x="2167655" y="3062549"/>
                  </a:cubicBezTo>
                  <a:close/>
                  <a:moveTo>
                    <a:pt x="5197962" y="1075921"/>
                  </a:moveTo>
                  <a:cubicBezTo>
                    <a:pt x="5197962" y="1041668"/>
                    <a:pt x="5218125" y="983238"/>
                    <a:pt x="5218125" y="932860"/>
                  </a:cubicBezTo>
                  <a:cubicBezTo>
                    <a:pt x="5218125" y="906675"/>
                    <a:pt x="5212061" y="874431"/>
                    <a:pt x="5179845" y="824069"/>
                  </a:cubicBezTo>
                  <a:cubicBezTo>
                    <a:pt x="5133504" y="753550"/>
                    <a:pt x="5044840" y="630645"/>
                    <a:pt x="4960220" y="539970"/>
                  </a:cubicBezTo>
                  <a:cubicBezTo>
                    <a:pt x="4847400" y="421100"/>
                    <a:pt x="4748655" y="386845"/>
                    <a:pt x="4595534" y="396924"/>
                  </a:cubicBezTo>
                  <a:cubicBezTo>
                    <a:pt x="4720456" y="328415"/>
                    <a:pt x="4748655" y="263943"/>
                    <a:pt x="4748655" y="191413"/>
                  </a:cubicBezTo>
                  <a:cubicBezTo>
                    <a:pt x="4748655" y="128949"/>
                    <a:pt x="4714417" y="62463"/>
                    <a:pt x="4657995" y="0"/>
                  </a:cubicBezTo>
                  <a:cubicBezTo>
                    <a:pt x="4738573" y="14099"/>
                    <a:pt x="4954181" y="102762"/>
                    <a:pt x="4954181" y="219624"/>
                  </a:cubicBezTo>
                  <a:cubicBezTo>
                    <a:pt x="4954181" y="243799"/>
                    <a:pt x="4942078" y="265951"/>
                    <a:pt x="4917896" y="290142"/>
                  </a:cubicBezTo>
                  <a:lnTo>
                    <a:pt x="5435704" y="938903"/>
                  </a:lnTo>
                  <a:cubicBezTo>
                    <a:pt x="5417587" y="967115"/>
                    <a:pt x="5377285" y="955027"/>
                    <a:pt x="5343022" y="955027"/>
                  </a:cubicBezTo>
                  <a:cubicBezTo>
                    <a:pt x="5320889" y="955027"/>
                    <a:pt x="5306764" y="969126"/>
                    <a:pt x="5306764" y="993314"/>
                  </a:cubicBezTo>
                  <a:cubicBezTo>
                    <a:pt x="5306764" y="1037633"/>
                    <a:pt x="5341026" y="1092029"/>
                    <a:pt x="5361165" y="1122264"/>
                  </a:cubicBezTo>
                  <a:cubicBezTo>
                    <a:pt x="5345044" y="1132327"/>
                    <a:pt x="5314824" y="1144415"/>
                    <a:pt x="5282583" y="1144415"/>
                  </a:cubicBezTo>
                  <a:cubicBezTo>
                    <a:pt x="5242281" y="1144415"/>
                    <a:pt x="5197962" y="1130319"/>
                    <a:pt x="5197962" y="1075923"/>
                  </a:cubicBezTo>
                  <a:close/>
                </a:path>
              </a:pathLst>
            </a:custGeom>
            <a:solidFill>
              <a:srgbClr val="0BE248"/>
            </a:solidFill>
            <a:ln w="0" cap="flat">
              <a:noFill/>
              <a:prstDash val="solid"/>
              <a:miter/>
            </a:ln>
          </p:spPr>
          <p:txBody>
            <a:bodyPr rtlCol="0" anchor="ctr"/>
            <a:lstStyle/>
            <a:p>
              <a:endParaRPr lang="en-GB"/>
            </a:p>
          </p:txBody>
        </p:sp>
      </p:grpSp>
      <p:sp>
        <p:nvSpPr>
          <p:cNvPr id="21" name="Title 14">
            <a:extLst>
              <a:ext uri="{FF2B5EF4-FFF2-40B4-BE49-F238E27FC236}">
                <a16:creationId xmlns:a16="http://schemas.microsoft.com/office/drawing/2014/main" id="{248C9794-E017-B221-E87C-6CCAE63678A7}"/>
              </a:ext>
            </a:extLst>
          </p:cNvPr>
          <p:cNvSpPr>
            <a:spLocks noGrp="1"/>
          </p:cNvSpPr>
          <p:nvPr>
            <p:ph type="title" hasCustomPrompt="1"/>
          </p:nvPr>
        </p:nvSpPr>
        <p:spPr>
          <a:xfrm>
            <a:off x="396240" y="4224870"/>
            <a:ext cx="11399520" cy="1709392"/>
          </a:xfrm>
          <a:prstGeom prst="rect">
            <a:avLst/>
          </a:prstGeom>
        </p:spPr>
        <p:txBody>
          <a:bodyPr vert="horz" anchor="b"/>
          <a:lstStyle>
            <a:lvl1pPr algn="ctr">
              <a:lnSpc>
                <a:spcPct val="85000"/>
              </a:lnSpc>
              <a:defRPr sz="5400" spc="-20" baseline="0">
                <a:solidFill>
                  <a:schemeClr val="bg1"/>
                </a:solidFill>
                <a:latin typeface="GT Ultra Median Lloyds Black" panose="020B0604020202020204" charset="0"/>
              </a:defRPr>
            </a:lvl1pPr>
          </a:lstStyle>
          <a:p>
            <a:r>
              <a:rPr lang="en-US"/>
              <a:t>Click to edit Master </a:t>
            </a:r>
            <a:br>
              <a:rPr lang="en-US"/>
            </a:br>
            <a:r>
              <a:rPr lang="en-US"/>
              <a:t>title style</a:t>
            </a:r>
            <a:endParaRPr lang="en-GB"/>
          </a:p>
        </p:txBody>
      </p:sp>
      <p:sp>
        <p:nvSpPr>
          <p:cNvPr id="23" name="Text Placeholder 3">
            <a:extLst>
              <a:ext uri="{FF2B5EF4-FFF2-40B4-BE49-F238E27FC236}">
                <a16:creationId xmlns:a16="http://schemas.microsoft.com/office/drawing/2014/main" id="{8B3016D5-E343-037E-A477-394C1DF04A06}"/>
              </a:ext>
            </a:extLst>
          </p:cNvPr>
          <p:cNvSpPr>
            <a:spLocks noGrp="1"/>
          </p:cNvSpPr>
          <p:nvPr>
            <p:ph type="body" sz="quarter" idx="14"/>
          </p:nvPr>
        </p:nvSpPr>
        <p:spPr>
          <a:xfrm>
            <a:off x="396240" y="6034475"/>
            <a:ext cx="11399520" cy="394585"/>
          </a:xfrm>
        </p:spPr>
        <p:txBody>
          <a:bodyPr anchor="t"/>
          <a:lstStyle>
            <a:lvl1pPr algn="ctr">
              <a:defRPr b="0">
                <a:solidFill>
                  <a:schemeClr val="bg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lvl1pPr>
              <a:defRPr>
                <a:solidFill>
                  <a:schemeClr val="bg1"/>
                </a:solidFill>
              </a:defRPr>
            </a:lvl1pPr>
          </a:lstStyle>
          <a:p>
            <a:fld id="{0FF81978-7425-4821-AC1B-FA4BC778E887}"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5602AB8D-C6B2-371D-5D84-79B6B57217E7}"/>
              </a:ext>
            </a:extLst>
          </p:cNvPr>
          <p:cNvSpPr/>
          <p:nvPr/>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9422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1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8138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1726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1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2268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1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297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1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11421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10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92562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0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5207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0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0832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0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735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3436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Expressive Cancara 04)">
    <p:bg>
      <p:bgPr>
        <a:solidFill>
          <a:srgbClr val="6CF479"/>
        </a:solidFill>
        <a:effectLst/>
      </p:bgPr>
    </p:bg>
    <p:spTree>
      <p:nvGrpSpPr>
        <p:cNvPr id="1" name=""/>
        <p:cNvGrpSpPr/>
        <p:nvPr/>
      </p:nvGrpSpPr>
      <p:grpSpPr>
        <a:xfrm>
          <a:off x="0" y="0"/>
          <a:ext cx="0" cy="0"/>
          <a:chOff x="0" y="0"/>
          <a:chExt cx="0" cy="0"/>
        </a:xfrm>
      </p:grpSpPr>
      <p:grpSp>
        <p:nvGrpSpPr>
          <p:cNvPr id="2" name="Group 1" descr="Extreme close up of Lloyds Banking Group logo">
            <a:extLst>
              <a:ext uri="{FF2B5EF4-FFF2-40B4-BE49-F238E27FC236}">
                <a16:creationId xmlns:a16="http://schemas.microsoft.com/office/drawing/2014/main" id="{0F632455-D4BE-0570-63FA-13096379C804}"/>
              </a:ext>
            </a:extLst>
          </p:cNvPr>
          <p:cNvGrpSpPr/>
          <p:nvPr userDrawn="1"/>
        </p:nvGrpSpPr>
        <p:grpSpPr>
          <a:xfrm>
            <a:off x="0" y="390525"/>
            <a:ext cx="7513320" cy="6467475"/>
            <a:chOff x="0" y="390525"/>
            <a:chExt cx="7513320" cy="6467475"/>
          </a:xfrm>
        </p:grpSpPr>
        <p:sp>
          <p:nvSpPr>
            <p:cNvPr id="20" name="Freeform: Shape 19">
              <a:extLst>
                <a:ext uri="{FF2B5EF4-FFF2-40B4-BE49-F238E27FC236}">
                  <a16:creationId xmlns:a16="http://schemas.microsoft.com/office/drawing/2014/main" id="{A2634314-D52B-F3FB-3A41-6BAC6AFCF95C}"/>
                </a:ext>
              </a:extLst>
            </p:cNvPr>
            <p:cNvSpPr/>
            <p:nvPr/>
          </p:nvSpPr>
          <p:spPr>
            <a:xfrm>
              <a:off x="0" y="390525"/>
              <a:ext cx="7513320" cy="6467475"/>
            </a:xfrm>
            <a:custGeom>
              <a:avLst/>
              <a:gdLst>
                <a:gd name="connsiteX0" fmla="*/ 3356207 w 7513320"/>
                <a:gd name="connsiteY0" fmla="*/ 0 h 6467475"/>
                <a:gd name="connsiteX1" fmla="*/ 3500550 w 7513320"/>
                <a:gd name="connsiteY1" fmla="*/ 308878 h 6467475"/>
                <a:gd name="connsiteX2" fmla="*/ 3503411 w 7513320"/>
                <a:gd name="connsiteY2" fmla="*/ 308878 h 6467475"/>
                <a:gd name="connsiteX3" fmla="*/ 3630449 w 7513320"/>
                <a:gd name="connsiteY3" fmla="*/ 51960 h 6467475"/>
                <a:gd name="connsiteX4" fmla="*/ 3722804 w 7513320"/>
                <a:gd name="connsiteY4" fmla="*/ 427239 h 6467475"/>
                <a:gd name="connsiteX5" fmla="*/ 3702639 w 7513320"/>
                <a:gd name="connsiteY5" fmla="*/ 508078 h 6467475"/>
                <a:gd name="connsiteX6" fmla="*/ 4005735 w 7513320"/>
                <a:gd name="connsiteY6" fmla="*/ 909355 h 6467475"/>
                <a:gd name="connsiteX7" fmla="*/ 3976881 w 7513320"/>
                <a:gd name="connsiteY7" fmla="*/ 1033497 h 6467475"/>
                <a:gd name="connsiteX8" fmla="*/ 4669710 w 7513320"/>
                <a:gd name="connsiteY8" fmla="*/ 1908211 h 6467475"/>
                <a:gd name="connsiteX9" fmla="*/ 4727453 w 7513320"/>
                <a:gd name="connsiteY9" fmla="*/ 2069870 h 6467475"/>
                <a:gd name="connsiteX10" fmla="*/ 4340619 w 7513320"/>
                <a:gd name="connsiteY10" fmla="*/ 2445168 h 6467475"/>
                <a:gd name="connsiteX11" fmla="*/ 4023076 w 7513320"/>
                <a:gd name="connsiteY11" fmla="*/ 2263290 h 6467475"/>
                <a:gd name="connsiteX12" fmla="*/ 3419708 w 7513320"/>
                <a:gd name="connsiteY12" fmla="*/ 1968830 h 6467475"/>
                <a:gd name="connsiteX13" fmla="*/ 3344658 w 7513320"/>
                <a:gd name="connsiteY13" fmla="*/ 2228650 h 6467475"/>
                <a:gd name="connsiteX14" fmla="*/ 4510957 w 7513320"/>
                <a:gd name="connsiteY14" fmla="*/ 3778864 h 6467475"/>
                <a:gd name="connsiteX15" fmla="*/ 5440518 w 7513320"/>
                <a:gd name="connsiteY15" fmla="*/ 3470003 h 6467475"/>
                <a:gd name="connsiteX16" fmla="*/ 7239040 w 7513320"/>
                <a:gd name="connsiteY16" fmla="*/ 5000039 h 6467475"/>
                <a:gd name="connsiteX17" fmla="*/ 7513320 w 7513320"/>
                <a:gd name="connsiteY17" fmla="*/ 5349328 h 6467475"/>
                <a:gd name="connsiteX18" fmla="*/ 6681904 w 7513320"/>
                <a:gd name="connsiteY18" fmla="*/ 5349328 h 6467475"/>
                <a:gd name="connsiteX19" fmla="*/ 6681904 w 7513320"/>
                <a:gd name="connsiteY19" fmla="*/ 5106838 h 6467475"/>
                <a:gd name="connsiteX20" fmla="*/ 6453821 w 7513320"/>
                <a:gd name="connsiteY20" fmla="*/ 5043337 h 6467475"/>
                <a:gd name="connsiteX21" fmla="*/ 5377018 w 7513320"/>
                <a:gd name="connsiteY21" fmla="*/ 4119538 h 6467475"/>
                <a:gd name="connsiteX22" fmla="*/ 4565805 w 7513320"/>
                <a:gd name="connsiteY22" fmla="*/ 4806603 h 6467475"/>
                <a:gd name="connsiteX23" fmla="*/ 5913954 w 7513320"/>
                <a:gd name="connsiteY23" fmla="*/ 4893203 h 6467475"/>
                <a:gd name="connsiteX24" fmla="*/ 5730344 w 7513320"/>
                <a:gd name="connsiteY24" fmla="*/ 6467475 h 6467475"/>
                <a:gd name="connsiteX25" fmla="*/ 5262683 w 7513320"/>
                <a:gd name="connsiteY25" fmla="*/ 6467475 h 6467475"/>
                <a:gd name="connsiteX26" fmla="*/ 5304313 w 7513320"/>
                <a:gd name="connsiteY26" fmla="*/ 6349352 h 6467475"/>
                <a:gd name="connsiteX27" fmla="*/ 5466514 w 7513320"/>
                <a:gd name="connsiteY27" fmla="*/ 5441718 h 6467475"/>
                <a:gd name="connsiteX28" fmla="*/ 5443416 w 7513320"/>
                <a:gd name="connsiteY28" fmla="*/ 5303168 h 6467475"/>
                <a:gd name="connsiteX29" fmla="*/ 5290420 w 7513320"/>
                <a:gd name="connsiteY29" fmla="*/ 5320474 h 6467475"/>
                <a:gd name="connsiteX30" fmla="*/ 4496511 w 7513320"/>
                <a:gd name="connsiteY30" fmla="*/ 5782355 h 6467475"/>
                <a:gd name="connsiteX31" fmla="*/ 3575601 w 7513320"/>
                <a:gd name="connsiteY31" fmla="*/ 6111479 h 6467475"/>
                <a:gd name="connsiteX32" fmla="*/ 3120545 w 7513320"/>
                <a:gd name="connsiteY32" fmla="*/ 6439592 h 6467475"/>
                <a:gd name="connsiteX33" fmla="*/ 3058479 w 7513320"/>
                <a:gd name="connsiteY33" fmla="*/ 6467475 h 6467475"/>
                <a:gd name="connsiteX34" fmla="*/ 0 w 7513320"/>
                <a:gd name="connsiteY34" fmla="*/ 6467475 h 6467475"/>
                <a:gd name="connsiteX35" fmla="*/ 0 w 7513320"/>
                <a:gd name="connsiteY35" fmla="*/ 4754244 h 6467475"/>
                <a:gd name="connsiteX36" fmla="*/ 85493 w 7513320"/>
                <a:gd name="connsiteY36" fmla="*/ 4746935 h 6467475"/>
                <a:gd name="connsiteX37" fmla="*/ 1548996 w 7513320"/>
                <a:gd name="connsiteY37" fmla="*/ 4546809 h 6467475"/>
                <a:gd name="connsiteX38" fmla="*/ 2019570 w 7513320"/>
                <a:gd name="connsiteY38" fmla="*/ 4021390 h 6467475"/>
                <a:gd name="connsiteX39" fmla="*/ 1872331 w 7513320"/>
                <a:gd name="connsiteY39" fmla="*/ 3851053 h 6467475"/>
                <a:gd name="connsiteX40" fmla="*/ 1725091 w 7513320"/>
                <a:gd name="connsiteY40" fmla="*/ 3966542 h 6467475"/>
                <a:gd name="connsiteX41" fmla="*/ 1577887 w 7513320"/>
                <a:gd name="connsiteY41" fmla="*/ 3660519 h 6467475"/>
                <a:gd name="connsiteX42" fmla="*/ 1693340 w 7513320"/>
                <a:gd name="connsiteY42" fmla="*/ 3322762 h 6467475"/>
                <a:gd name="connsiteX43" fmla="*/ 1335358 w 7513320"/>
                <a:gd name="connsiteY43" fmla="*/ 3285243 h 6467475"/>
                <a:gd name="connsiteX44" fmla="*/ 1667382 w 7513320"/>
                <a:gd name="connsiteY44" fmla="*/ 2511568 h 6467475"/>
                <a:gd name="connsiteX45" fmla="*/ 1667382 w 7513320"/>
                <a:gd name="connsiteY45" fmla="*/ 2508664 h 6467475"/>
                <a:gd name="connsiteX46" fmla="*/ 1141959 w 7513320"/>
                <a:gd name="connsiteY46" fmla="*/ 1836028 h 6467475"/>
                <a:gd name="connsiteX47" fmla="*/ 1283406 w 7513320"/>
                <a:gd name="connsiteY47" fmla="*/ 1896648 h 6467475"/>
                <a:gd name="connsiteX48" fmla="*/ 1404653 w 7513320"/>
                <a:gd name="connsiteY48" fmla="*/ 1749431 h 6467475"/>
                <a:gd name="connsiteX49" fmla="*/ 1121760 w 7513320"/>
                <a:gd name="connsiteY49" fmla="*/ 1353932 h 6467475"/>
                <a:gd name="connsiteX50" fmla="*/ 1869470 w 7513320"/>
                <a:gd name="connsiteY50" fmla="*/ 1111435 h 6467475"/>
                <a:gd name="connsiteX51" fmla="*/ 1872331 w 7513320"/>
                <a:gd name="connsiteY51" fmla="*/ 1108553 h 6467475"/>
                <a:gd name="connsiteX52" fmla="*/ 1880983 w 7513320"/>
                <a:gd name="connsiteY52" fmla="*/ 539835 h 6467475"/>
                <a:gd name="connsiteX53" fmla="*/ 2129267 w 7513320"/>
                <a:gd name="connsiteY53" fmla="*/ 661076 h 6467475"/>
                <a:gd name="connsiteX54" fmla="*/ 2816339 w 7513320"/>
                <a:gd name="connsiteY54" fmla="*/ 202080 h 6467475"/>
                <a:gd name="connsiteX55" fmla="*/ 2995330 w 7513320"/>
                <a:gd name="connsiteY55" fmla="*/ 513856 h 6467475"/>
                <a:gd name="connsiteX56" fmla="*/ 3356207 w 7513320"/>
                <a:gd name="connsiteY56" fmla="*/ 0 h 646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513320" h="6467475">
                  <a:moveTo>
                    <a:pt x="3356207" y="0"/>
                  </a:moveTo>
                  <a:cubicBezTo>
                    <a:pt x="3448599" y="51960"/>
                    <a:pt x="3514996" y="141439"/>
                    <a:pt x="3500550" y="308878"/>
                  </a:cubicBezTo>
                  <a:lnTo>
                    <a:pt x="3503411" y="308878"/>
                  </a:lnTo>
                  <a:lnTo>
                    <a:pt x="3630449" y="51960"/>
                  </a:lnTo>
                  <a:cubicBezTo>
                    <a:pt x="3737250" y="141439"/>
                    <a:pt x="3757450" y="291557"/>
                    <a:pt x="3722804" y="427239"/>
                  </a:cubicBezTo>
                  <a:cubicBezTo>
                    <a:pt x="3714151" y="461878"/>
                    <a:pt x="3702639" y="487877"/>
                    <a:pt x="3702639" y="508078"/>
                  </a:cubicBezTo>
                  <a:cubicBezTo>
                    <a:pt x="3702639" y="609117"/>
                    <a:pt x="4005735" y="684177"/>
                    <a:pt x="4005735" y="909355"/>
                  </a:cubicBezTo>
                  <a:cubicBezTo>
                    <a:pt x="4005735" y="946876"/>
                    <a:pt x="3994187" y="987293"/>
                    <a:pt x="3976881" y="1033497"/>
                  </a:cubicBezTo>
                  <a:lnTo>
                    <a:pt x="4669710" y="1908211"/>
                  </a:lnTo>
                  <a:cubicBezTo>
                    <a:pt x="4713009" y="1963049"/>
                    <a:pt x="4727453" y="2020789"/>
                    <a:pt x="4727453" y="2069870"/>
                  </a:cubicBezTo>
                  <a:cubicBezTo>
                    <a:pt x="4727453" y="2251749"/>
                    <a:pt x="4568701" y="2445168"/>
                    <a:pt x="4340619" y="2445168"/>
                  </a:cubicBezTo>
                  <a:cubicBezTo>
                    <a:pt x="4115432" y="2445168"/>
                    <a:pt x="4034589" y="2321026"/>
                    <a:pt x="4023076" y="2263290"/>
                  </a:cubicBezTo>
                  <a:lnTo>
                    <a:pt x="3419708" y="1968830"/>
                  </a:lnTo>
                  <a:cubicBezTo>
                    <a:pt x="3385061" y="2026571"/>
                    <a:pt x="3344658" y="2121828"/>
                    <a:pt x="3344658" y="2228650"/>
                  </a:cubicBezTo>
                  <a:cubicBezTo>
                    <a:pt x="3344658" y="2892626"/>
                    <a:pt x="4282874" y="2909946"/>
                    <a:pt x="4510957" y="3778864"/>
                  </a:cubicBezTo>
                  <a:lnTo>
                    <a:pt x="5440518" y="3470003"/>
                  </a:lnTo>
                  <a:cubicBezTo>
                    <a:pt x="6104493" y="4116640"/>
                    <a:pt x="6806010" y="4743103"/>
                    <a:pt x="7239040" y="5000039"/>
                  </a:cubicBezTo>
                  <a:lnTo>
                    <a:pt x="7513320" y="5349328"/>
                  </a:lnTo>
                  <a:lnTo>
                    <a:pt x="6681904" y="5349328"/>
                  </a:lnTo>
                  <a:lnTo>
                    <a:pt x="6681904" y="5106838"/>
                  </a:lnTo>
                  <a:lnTo>
                    <a:pt x="6453821" y="5043337"/>
                  </a:lnTo>
                  <a:cubicBezTo>
                    <a:pt x="6104493" y="4494821"/>
                    <a:pt x="5631059" y="4194587"/>
                    <a:pt x="5377018" y="4119538"/>
                  </a:cubicBezTo>
                  <a:cubicBezTo>
                    <a:pt x="5068092" y="4307180"/>
                    <a:pt x="4837151" y="4503510"/>
                    <a:pt x="4565805" y="4806603"/>
                  </a:cubicBezTo>
                  <a:cubicBezTo>
                    <a:pt x="5007489" y="4771994"/>
                    <a:pt x="5501161" y="4815293"/>
                    <a:pt x="5913954" y="4893203"/>
                  </a:cubicBezTo>
                  <a:lnTo>
                    <a:pt x="5730344" y="6467475"/>
                  </a:lnTo>
                  <a:lnTo>
                    <a:pt x="5262683" y="6467475"/>
                  </a:lnTo>
                  <a:lnTo>
                    <a:pt x="5304313" y="6349352"/>
                  </a:lnTo>
                  <a:cubicBezTo>
                    <a:pt x="5446611" y="5913458"/>
                    <a:pt x="5466514" y="5613476"/>
                    <a:pt x="5466514" y="5441718"/>
                  </a:cubicBezTo>
                  <a:cubicBezTo>
                    <a:pt x="5466514" y="5381078"/>
                    <a:pt x="5463617" y="5323370"/>
                    <a:pt x="5443416" y="5303168"/>
                  </a:cubicBezTo>
                  <a:cubicBezTo>
                    <a:pt x="5426074" y="5285827"/>
                    <a:pt x="5353921" y="5303168"/>
                    <a:pt x="5290420" y="5320474"/>
                  </a:cubicBezTo>
                  <a:cubicBezTo>
                    <a:pt x="5122978" y="5366669"/>
                    <a:pt x="4848699" y="5496566"/>
                    <a:pt x="4496511" y="5782355"/>
                  </a:cubicBezTo>
                  <a:cubicBezTo>
                    <a:pt x="4178969" y="6042186"/>
                    <a:pt x="4005735" y="6160535"/>
                    <a:pt x="3575601" y="6111479"/>
                  </a:cubicBezTo>
                  <a:cubicBezTo>
                    <a:pt x="3454346" y="6237059"/>
                    <a:pt x="3299173" y="6346400"/>
                    <a:pt x="3120545" y="6439592"/>
                  </a:cubicBezTo>
                  <a:lnTo>
                    <a:pt x="3058479" y="6467475"/>
                  </a:lnTo>
                  <a:lnTo>
                    <a:pt x="0" y="6467475"/>
                  </a:lnTo>
                  <a:lnTo>
                    <a:pt x="0" y="4754244"/>
                  </a:lnTo>
                  <a:lnTo>
                    <a:pt x="85493" y="4746935"/>
                  </a:lnTo>
                  <a:cubicBezTo>
                    <a:pt x="583882" y="4715120"/>
                    <a:pt x="1115965" y="4730821"/>
                    <a:pt x="1548996" y="4546809"/>
                  </a:cubicBezTo>
                  <a:cubicBezTo>
                    <a:pt x="1805933" y="4437113"/>
                    <a:pt x="2019570" y="4243679"/>
                    <a:pt x="2019570" y="4021390"/>
                  </a:cubicBezTo>
                  <a:cubicBezTo>
                    <a:pt x="2019570" y="3914591"/>
                    <a:pt x="1958929" y="3851053"/>
                    <a:pt x="1872331" y="3851053"/>
                  </a:cubicBezTo>
                  <a:cubicBezTo>
                    <a:pt x="1829032" y="3851053"/>
                    <a:pt x="1762636" y="3871254"/>
                    <a:pt x="1725091" y="3966542"/>
                  </a:cubicBezTo>
                  <a:cubicBezTo>
                    <a:pt x="1612534" y="3868396"/>
                    <a:pt x="1577887" y="3764456"/>
                    <a:pt x="1577887" y="3660519"/>
                  </a:cubicBezTo>
                  <a:cubicBezTo>
                    <a:pt x="1577887" y="3487323"/>
                    <a:pt x="1632698" y="3406481"/>
                    <a:pt x="1693340" y="3322762"/>
                  </a:cubicBezTo>
                  <a:cubicBezTo>
                    <a:pt x="1635633" y="3172644"/>
                    <a:pt x="1456604" y="3138001"/>
                    <a:pt x="1335358" y="3285243"/>
                  </a:cubicBezTo>
                  <a:cubicBezTo>
                    <a:pt x="1185258" y="3008104"/>
                    <a:pt x="1277652" y="2627025"/>
                    <a:pt x="1667382" y="2511568"/>
                  </a:cubicBezTo>
                  <a:lnTo>
                    <a:pt x="1667382" y="2508664"/>
                  </a:lnTo>
                  <a:cubicBezTo>
                    <a:pt x="1211254" y="2433608"/>
                    <a:pt x="1090008" y="2150708"/>
                    <a:pt x="1141959" y="1836028"/>
                  </a:cubicBezTo>
                  <a:cubicBezTo>
                    <a:pt x="1185258" y="1873568"/>
                    <a:pt x="1234351" y="1896648"/>
                    <a:pt x="1283406" y="1896648"/>
                  </a:cubicBezTo>
                  <a:cubicBezTo>
                    <a:pt x="1358494" y="1896648"/>
                    <a:pt x="1404653" y="1836028"/>
                    <a:pt x="1404653" y="1749431"/>
                  </a:cubicBezTo>
                  <a:cubicBezTo>
                    <a:pt x="1404653" y="1657050"/>
                    <a:pt x="1358494" y="1512712"/>
                    <a:pt x="1121760" y="1353932"/>
                  </a:cubicBezTo>
                  <a:cubicBezTo>
                    <a:pt x="1329603" y="1042152"/>
                    <a:pt x="1687584" y="995953"/>
                    <a:pt x="1869470" y="1111435"/>
                  </a:cubicBezTo>
                  <a:lnTo>
                    <a:pt x="1872331" y="1108553"/>
                  </a:lnTo>
                  <a:cubicBezTo>
                    <a:pt x="1779939" y="981516"/>
                    <a:pt x="1733743" y="759234"/>
                    <a:pt x="1880983" y="539835"/>
                  </a:cubicBezTo>
                  <a:cubicBezTo>
                    <a:pt x="1915630" y="588915"/>
                    <a:pt x="1999369" y="661076"/>
                    <a:pt x="2129267" y="661076"/>
                  </a:cubicBezTo>
                  <a:cubicBezTo>
                    <a:pt x="2510347" y="661076"/>
                    <a:pt x="2524793" y="242478"/>
                    <a:pt x="2816339" y="202080"/>
                  </a:cubicBezTo>
                  <a:cubicBezTo>
                    <a:pt x="2799033" y="331978"/>
                    <a:pt x="2833644" y="513856"/>
                    <a:pt x="2995330" y="513856"/>
                  </a:cubicBezTo>
                  <a:cubicBezTo>
                    <a:pt x="3206070" y="513856"/>
                    <a:pt x="3304218" y="196298"/>
                    <a:pt x="3356207" y="0"/>
                  </a:cubicBezTo>
                  <a:close/>
                </a:path>
              </a:pathLst>
            </a:custGeom>
            <a:solidFill>
              <a:srgbClr val="000000"/>
            </a:solidFill>
            <a:ln w="0" cap="flat">
              <a:noFill/>
              <a:prstDash val="solid"/>
              <a:miter/>
            </a:ln>
          </p:spPr>
          <p:txBody>
            <a:bodyPr wrap="square" rtlCol="0" anchor="ctr">
              <a:noAutofit/>
            </a:bodyPr>
            <a:lstStyle/>
            <a:p>
              <a:endParaRPr lang="en-GB"/>
            </a:p>
          </p:txBody>
        </p:sp>
        <p:sp>
          <p:nvSpPr>
            <p:cNvPr id="17" name="Freeform: Shape 16">
              <a:extLst>
                <a:ext uri="{FF2B5EF4-FFF2-40B4-BE49-F238E27FC236}">
                  <a16:creationId xmlns:a16="http://schemas.microsoft.com/office/drawing/2014/main" id="{350A941F-3CB2-9845-276F-C652DAB4BC91}"/>
                </a:ext>
              </a:extLst>
            </p:cNvPr>
            <p:cNvSpPr/>
            <p:nvPr/>
          </p:nvSpPr>
          <p:spPr>
            <a:xfrm>
              <a:off x="1" y="1008303"/>
              <a:ext cx="4545567" cy="5378213"/>
            </a:xfrm>
            <a:custGeom>
              <a:avLst/>
              <a:gdLst>
                <a:gd name="connsiteX0" fmla="*/ 2790343 w 4545567"/>
                <a:gd name="connsiteY0" fmla="*/ 207858 h 5378213"/>
                <a:gd name="connsiteX1" fmla="*/ 2189908 w 4545567"/>
                <a:gd name="connsiteY1" fmla="*/ 1454971 h 5378213"/>
                <a:gd name="connsiteX2" fmla="*/ 3035732 w 4545567"/>
                <a:gd name="connsiteY2" fmla="*/ 2725208 h 5378213"/>
                <a:gd name="connsiteX3" fmla="*/ 4112571 w 4545567"/>
                <a:gd name="connsiteY3" fmla="*/ 3296815 h 5378213"/>
                <a:gd name="connsiteX4" fmla="*/ 3592905 w 4545567"/>
                <a:gd name="connsiteY4" fmla="*/ 3123581 h 5378213"/>
                <a:gd name="connsiteX5" fmla="*/ 1199704 w 4545567"/>
                <a:gd name="connsiteY5" fmla="*/ 5378213 h 5378213"/>
                <a:gd name="connsiteX6" fmla="*/ 79571 w 4545567"/>
                <a:gd name="connsiteY6" fmla="*/ 4587208 h 5378213"/>
                <a:gd name="connsiteX7" fmla="*/ 0 w 4545567"/>
                <a:gd name="connsiteY7" fmla="*/ 4591624 h 5378213"/>
                <a:gd name="connsiteX8" fmla="*/ 0 w 4545567"/>
                <a:gd name="connsiteY8" fmla="*/ 4375064 h 5378213"/>
                <a:gd name="connsiteX9" fmla="*/ 81891 w 4545567"/>
                <a:gd name="connsiteY9" fmla="*/ 4367296 h 5378213"/>
                <a:gd name="connsiteX10" fmla="*/ 1808829 w 4545567"/>
                <a:gd name="connsiteY10" fmla="*/ 4073375 h 5378213"/>
                <a:gd name="connsiteX11" fmla="*/ 2394856 w 4545567"/>
                <a:gd name="connsiteY11" fmla="*/ 3357418 h 5378213"/>
                <a:gd name="connsiteX12" fmla="*/ 1906977 w 4545567"/>
                <a:gd name="connsiteY12" fmla="*/ 1732111 h 5378213"/>
                <a:gd name="connsiteX13" fmla="*/ 2790343 w 4545567"/>
                <a:gd name="connsiteY13" fmla="*/ 207858 h 5378213"/>
                <a:gd name="connsiteX14" fmla="*/ 3431257 w 4545567"/>
                <a:gd name="connsiteY14" fmla="*/ 0 h 5378213"/>
                <a:gd name="connsiteX15" fmla="*/ 3855635 w 4545567"/>
                <a:gd name="connsiteY15" fmla="*/ 314680 h 5378213"/>
                <a:gd name="connsiteX16" fmla="*/ 3803646 w 4545567"/>
                <a:gd name="connsiteY16" fmla="*/ 415719 h 5378213"/>
                <a:gd name="connsiteX17" fmla="*/ 4545567 w 4545567"/>
                <a:gd name="connsiteY17" fmla="*/ 1345271 h 5378213"/>
                <a:gd name="connsiteX18" fmla="*/ 4412771 w 4545567"/>
                <a:gd name="connsiteY18" fmla="*/ 1368373 h 5378213"/>
                <a:gd name="connsiteX19" fmla="*/ 4360820 w 4545567"/>
                <a:gd name="connsiteY19" fmla="*/ 1423231 h 5378213"/>
                <a:gd name="connsiteX20" fmla="*/ 4438766 w 4545567"/>
                <a:gd name="connsiteY20" fmla="*/ 1607992 h 5378213"/>
                <a:gd name="connsiteX21" fmla="*/ 4326173 w 4545567"/>
                <a:gd name="connsiteY21" fmla="*/ 1639730 h 5378213"/>
                <a:gd name="connsiteX22" fmla="*/ 4204927 w 4545567"/>
                <a:gd name="connsiteY22" fmla="*/ 1541594 h 5378213"/>
                <a:gd name="connsiteX23" fmla="*/ 4204927 w 4545567"/>
                <a:gd name="connsiteY23" fmla="*/ 1541591 h 5378213"/>
                <a:gd name="connsiteX24" fmla="*/ 4233817 w 4545567"/>
                <a:gd name="connsiteY24" fmla="*/ 1336612 h 5378213"/>
                <a:gd name="connsiteX25" fmla="*/ 4178969 w 4545567"/>
                <a:gd name="connsiteY25" fmla="*/ 1180735 h 5378213"/>
                <a:gd name="connsiteX26" fmla="*/ 3864288 w 4545567"/>
                <a:gd name="connsiteY26" fmla="*/ 773675 h 5378213"/>
                <a:gd name="connsiteX27" fmla="*/ 3341762 w 4545567"/>
                <a:gd name="connsiteY27" fmla="*/ 568717 h 5378213"/>
                <a:gd name="connsiteX28" fmla="*/ 3561155 w 4545567"/>
                <a:gd name="connsiteY28" fmla="*/ 274259 h 5378213"/>
                <a:gd name="connsiteX29" fmla="*/ 3431257 w 4545567"/>
                <a:gd name="connsiteY29" fmla="*/ 0 h 53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45567" h="5378213">
                  <a:moveTo>
                    <a:pt x="2790343" y="207858"/>
                  </a:moveTo>
                  <a:cubicBezTo>
                    <a:pt x="2383308" y="560059"/>
                    <a:pt x="2189908" y="964213"/>
                    <a:pt x="2189908" y="1454971"/>
                  </a:cubicBezTo>
                  <a:cubicBezTo>
                    <a:pt x="2189908" y="1948629"/>
                    <a:pt x="2383308" y="2468269"/>
                    <a:pt x="3035732" y="2725208"/>
                  </a:cubicBezTo>
                  <a:cubicBezTo>
                    <a:pt x="3497655" y="2907063"/>
                    <a:pt x="3927789" y="2912846"/>
                    <a:pt x="4112571" y="3296815"/>
                  </a:cubicBezTo>
                  <a:cubicBezTo>
                    <a:pt x="3947990" y="3166880"/>
                    <a:pt x="3740145" y="3123581"/>
                    <a:pt x="3592905" y="3123581"/>
                  </a:cubicBezTo>
                  <a:cubicBezTo>
                    <a:pt x="2654689" y="3123581"/>
                    <a:pt x="2299604" y="4878790"/>
                    <a:pt x="1199704" y="5378213"/>
                  </a:cubicBezTo>
                  <a:cubicBezTo>
                    <a:pt x="1433542" y="4769094"/>
                    <a:pt x="729129" y="4572799"/>
                    <a:pt x="79571" y="4587208"/>
                  </a:cubicBezTo>
                  <a:lnTo>
                    <a:pt x="0" y="4591624"/>
                  </a:lnTo>
                  <a:lnTo>
                    <a:pt x="0" y="4375064"/>
                  </a:lnTo>
                  <a:lnTo>
                    <a:pt x="81891" y="4367296"/>
                  </a:lnTo>
                  <a:cubicBezTo>
                    <a:pt x="611474" y="4328789"/>
                    <a:pt x="1263205" y="4343650"/>
                    <a:pt x="1808829" y="4073375"/>
                  </a:cubicBezTo>
                  <a:cubicBezTo>
                    <a:pt x="2100412" y="3929032"/>
                    <a:pt x="2394856" y="3686506"/>
                    <a:pt x="2394856" y="3357418"/>
                  </a:cubicBezTo>
                  <a:cubicBezTo>
                    <a:pt x="2394856" y="2961927"/>
                    <a:pt x="1906977" y="2572186"/>
                    <a:pt x="1906977" y="1732111"/>
                  </a:cubicBezTo>
                  <a:cubicBezTo>
                    <a:pt x="1906977" y="1183612"/>
                    <a:pt x="2149469" y="551399"/>
                    <a:pt x="2790343" y="207858"/>
                  </a:cubicBezTo>
                  <a:close/>
                  <a:moveTo>
                    <a:pt x="3431257" y="0"/>
                  </a:moveTo>
                  <a:cubicBezTo>
                    <a:pt x="3546710" y="20201"/>
                    <a:pt x="3855635" y="147239"/>
                    <a:pt x="3855635" y="314680"/>
                  </a:cubicBezTo>
                  <a:cubicBezTo>
                    <a:pt x="3855635" y="349318"/>
                    <a:pt x="3838294" y="381058"/>
                    <a:pt x="3803646" y="415719"/>
                  </a:cubicBezTo>
                  <a:lnTo>
                    <a:pt x="4545567" y="1345271"/>
                  </a:lnTo>
                  <a:cubicBezTo>
                    <a:pt x="4519608" y="1385693"/>
                    <a:pt x="4461863" y="1368373"/>
                    <a:pt x="4412771" y="1368373"/>
                  </a:cubicBezTo>
                  <a:cubicBezTo>
                    <a:pt x="4381059" y="1368373"/>
                    <a:pt x="4360820" y="1388574"/>
                    <a:pt x="4360820" y="1423231"/>
                  </a:cubicBezTo>
                  <a:cubicBezTo>
                    <a:pt x="4360820" y="1486732"/>
                    <a:pt x="4409911" y="1564671"/>
                    <a:pt x="4438766" y="1607992"/>
                  </a:cubicBezTo>
                  <a:cubicBezTo>
                    <a:pt x="4415668" y="1622410"/>
                    <a:pt x="4372369" y="1639730"/>
                    <a:pt x="4326173" y="1639730"/>
                  </a:cubicBezTo>
                  <a:cubicBezTo>
                    <a:pt x="4268428" y="1639730"/>
                    <a:pt x="4204927" y="1619534"/>
                    <a:pt x="4204927" y="1541594"/>
                  </a:cubicBezTo>
                  <a:lnTo>
                    <a:pt x="4204927" y="1541591"/>
                  </a:lnTo>
                  <a:cubicBezTo>
                    <a:pt x="4204927" y="1492513"/>
                    <a:pt x="4233817" y="1408794"/>
                    <a:pt x="4233817" y="1336612"/>
                  </a:cubicBezTo>
                  <a:cubicBezTo>
                    <a:pt x="4233817" y="1299094"/>
                    <a:pt x="4225129" y="1252894"/>
                    <a:pt x="4178969" y="1180735"/>
                  </a:cubicBezTo>
                  <a:cubicBezTo>
                    <a:pt x="4112571" y="1079695"/>
                    <a:pt x="3985533" y="903595"/>
                    <a:pt x="3864288" y="773675"/>
                  </a:cubicBezTo>
                  <a:cubicBezTo>
                    <a:pt x="3702638" y="603357"/>
                    <a:pt x="3561155" y="554276"/>
                    <a:pt x="3341762" y="568717"/>
                  </a:cubicBezTo>
                  <a:cubicBezTo>
                    <a:pt x="3520752" y="470557"/>
                    <a:pt x="3561155" y="378181"/>
                    <a:pt x="3561155" y="274259"/>
                  </a:cubicBezTo>
                  <a:cubicBezTo>
                    <a:pt x="3561155" y="184760"/>
                    <a:pt x="3512099" y="89498"/>
                    <a:pt x="3431257" y="0"/>
                  </a:cubicBezTo>
                  <a:close/>
                </a:path>
              </a:pathLst>
            </a:custGeom>
            <a:solidFill>
              <a:srgbClr val="0BE248"/>
            </a:solidFill>
            <a:ln w="0" cap="flat">
              <a:noFill/>
              <a:prstDash val="solid"/>
              <a:miter/>
            </a:ln>
          </p:spPr>
          <p:txBody>
            <a:bodyPr wrap="square" rtlCol="0" anchor="ctr">
              <a:noAutofit/>
            </a:bodyPr>
            <a:lstStyle/>
            <a:p>
              <a:endParaRPr lang="en-GB"/>
            </a:p>
          </p:txBody>
        </p:sp>
      </p:grpSp>
      <p:sp>
        <p:nvSpPr>
          <p:cNvPr id="11" name="Title 14">
            <a:extLst>
              <a:ext uri="{FF2B5EF4-FFF2-40B4-BE49-F238E27FC236}">
                <a16:creationId xmlns:a16="http://schemas.microsoft.com/office/drawing/2014/main" id="{F400E925-2042-8E3A-2316-DFB79E788CA6}"/>
              </a:ext>
            </a:extLst>
          </p:cNvPr>
          <p:cNvSpPr>
            <a:spLocks noGrp="1"/>
          </p:cNvSpPr>
          <p:nvPr userDrawn="1">
            <p:ph type="title" hasCustomPrompt="1"/>
          </p:nvPr>
        </p:nvSpPr>
        <p:spPr>
          <a:xfrm>
            <a:off x="6657174" y="390525"/>
            <a:ext cx="5136363" cy="3658504"/>
          </a:xfrm>
          <a:prstGeom prst="rect">
            <a:avLst/>
          </a:prstGeom>
        </p:spPr>
        <p:txBody>
          <a:bodyPr vert="horz" anchor="b"/>
          <a:lstStyle>
            <a:lvl1pPr algn="ctr">
              <a:lnSpc>
                <a:spcPct val="85000"/>
              </a:lnSpc>
              <a:defRPr sz="5400" spc="-20" baseline="0">
                <a:solidFill>
                  <a:schemeClr val="tx1"/>
                </a:solidFill>
                <a:latin typeface="GT Ultra Median Lloyds Black" panose="020B0604020202020204" charset="0"/>
              </a:defRPr>
            </a:lvl1pPr>
          </a:lstStyle>
          <a:p>
            <a:r>
              <a:rPr lang="en-US"/>
              <a:t>Click to edit Master</a:t>
            </a:r>
            <a:br>
              <a:rPr lang="en-US"/>
            </a:br>
            <a:r>
              <a:rPr lang="en-US"/>
              <a:t>title style</a:t>
            </a:r>
            <a:endParaRPr lang="en-GB"/>
          </a:p>
        </p:txBody>
      </p:sp>
      <p:sp>
        <p:nvSpPr>
          <p:cNvPr id="13" name="Text Placeholder 3">
            <a:extLst>
              <a:ext uri="{FF2B5EF4-FFF2-40B4-BE49-F238E27FC236}">
                <a16:creationId xmlns:a16="http://schemas.microsoft.com/office/drawing/2014/main" id="{901B5DBF-BA3F-6D66-3C08-561D8FC52AA4}"/>
              </a:ext>
            </a:extLst>
          </p:cNvPr>
          <p:cNvSpPr>
            <a:spLocks noGrp="1"/>
          </p:cNvSpPr>
          <p:nvPr userDrawn="1">
            <p:ph type="body" sz="quarter" idx="14"/>
          </p:nvPr>
        </p:nvSpPr>
        <p:spPr>
          <a:xfrm>
            <a:off x="6657174" y="4200042"/>
            <a:ext cx="5136363" cy="1052678"/>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userDrawn="1">
            <p:ph type="dt" sz="half" idx="12"/>
          </p:nvPr>
        </p:nvSpPr>
        <p:spPr/>
        <p:txBody>
          <a:bodyPr/>
          <a:lstStyle>
            <a:lvl1pPr>
              <a:defRPr>
                <a:solidFill>
                  <a:schemeClr val="bg1"/>
                </a:solidFill>
              </a:defRPr>
            </a:lvl1pPr>
          </a:lstStyle>
          <a:p>
            <a:fld id="{05DD9C60-D469-4350-803A-1E387B16F391}"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userDrawn="1">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userDrawn="1">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5602AB8D-C6B2-371D-5D84-79B6B57217E7}"/>
              </a:ext>
            </a:extLst>
          </p:cNvPr>
          <p:cNvSpPr/>
          <p:nvPr userDrawn="1"/>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250084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05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7152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0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351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0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47219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0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6166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01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24293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0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79397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99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10871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98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82173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9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8180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9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3712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ED03446-8F6A-7612-3970-23FAD981EB79}"/>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1141095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84118079-9E77-74CB-D481-BF6575CFDACE}"/>
              </a:ext>
            </a:extLst>
          </p:cNvPr>
          <p:cNvSpPr>
            <a:spLocks noGrp="1"/>
          </p:cNvSpPr>
          <p:nvPr>
            <p:ph type="body" sz="quarter" idx="14"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302D8425-4089-4CBB-BCA2-2DB3E621226E}"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3334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9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25941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4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50997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hree column">
    <p:bg>
      <p:bgPr>
        <a:solidFill>
          <a:srgbClr val="FFFFFF"/>
        </a:solidFill>
        <a:effectLst/>
      </p:bgPr>
    </p:bg>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9A00E4B8-CEB3-B483-8084-0CB45D0B39DF}"/>
              </a:ext>
            </a:extLst>
          </p:cNvPr>
          <p:cNvSpPr>
            <a:spLocks noGrp="1"/>
          </p:cNvSpPr>
          <p:nvPr>
            <p:ph type="pic" sz="quarter" idx="19"/>
          </p:nvPr>
        </p:nvSpPr>
        <p:spPr>
          <a:xfrm>
            <a:off x="4587033" y="1511094"/>
            <a:ext cx="482096" cy="543111"/>
          </a:xfrm>
          <a:prstGeom prst="rect">
            <a:avLst/>
          </a:prstGeom>
        </p:spPr>
        <p:txBody>
          <a:bodyPr/>
          <a:lstStyle/>
          <a:p>
            <a:endParaRPr lang="en-GB"/>
          </a:p>
        </p:txBody>
      </p:sp>
      <p:sp>
        <p:nvSpPr>
          <p:cNvPr id="26" name="object 22">
            <a:extLst>
              <a:ext uri="{FF2B5EF4-FFF2-40B4-BE49-F238E27FC236}">
                <a16:creationId xmlns:a16="http://schemas.microsoft.com/office/drawing/2014/main" id="{78A5858E-C769-A11B-5873-B66759919939}"/>
              </a:ext>
            </a:extLst>
          </p:cNvPr>
          <p:cNvSpPr/>
          <p:nvPr userDrawn="1"/>
        </p:nvSpPr>
        <p:spPr>
          <a:xfrm>
            <a:off x="4247560" y="3375313"/>
            <a:ext cx="27724"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51879" y="3375313"/>
            <a:ext cx="46350"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8" name="Picture Placeholder 34">
            <a:extLst>
              <a:ext uri="{FF2B5EF4-FFF2-40B4-BE49-F238E27FC236}">
                <a16:creationId xmlns:a16="http://schemas.microsoft.com/office/drawing/2014/main" id="{E36C9282-1EDA-1F80-29A0-FEE2778546E0}"/>
              </a:ext>
            </a:extLst>
          </p:cNvPr>
          <p:cNvSpPr>
            <a:spLocks noGrp="1"/>
          </p:cNvSpPr>
          <p:nvPr>
            <p:ph type="pic" sz="quarter" idx="21"/>
          </p:nvPr>
        </p:nvSpPr>
        <p:spPr>
          <a:xfrm>
            <a:off x="8262416" y="1511022"/>
            <a:ext cx="482096" cy="543111"/>
          </a:xfrm>
          <a:prstGeom prst="rect">
            <a:avLst/>
          </a:prstGeom>
        </p:spPr>
        <p:txBody>
          <a:bodyPr/>
          <a:lstStyle/>
          <a:p>
            <a:endParaRPr lang="en-GB"/>
          </a:p>
        </p:txBody>
      </p:sp>
      <p:sp>
        <p:nvSpPr>
          <p:cNvPr id="29" name="Picture Placeholder 34">
            <a:extLst>
              <a:ext uri="{FF2B5EF4-FFF2-40B4-BE49-F238E27FC236}">
                <a16:creationId xmlns:a16="http://schemas.microsoft.com/office/drawing/2014/main" id="{167AFF17-7D7A-AAEA-E29A-982667C116D6}"/>
              </a:ext>
            </a:extLst>
          </p:cNvPr>
          <p:cNvSpPr>
            <a:spLocks noGrp="1"/>
          </p:cNvSpPr>
          <p:nvPr>
            <p:ph type="pic" sz="quarter" idx="22"/>
          </p:nvPr>
        </p:nvSpPr>
        <p:spPr>
          <a:xfrm>
            <a:off x="586775" y="1510950"/>
            <a:ext cx="482096" cy="543111"/>
          </a:xfrm>
          <a:prstGeom prst="rect">
            <a:avLst/>
          </a:prstGeom>
        </p:spPr>
        <p:txBody>
          <a:bodyPr/>
          <a:lstStyle/>
          <a:p>
            <a:endParaRPr lang="en-GB"/>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2261810"/>
            <a:ext cx="2987422" cy="813733"/>
          </a:xfrm>
          <a:prstGeom prst="rect">
            <a:avLst/>
          </a:prstGeom>
        </p:spPr>
        <p:txBody>
          <a:bodyPr lIns="0"/>
          <a:lstStyle>
            <a:lvl1pPr>
              <a:lnSpc>
                <a:spcPct val="90000"/>
              </a:lnSpc>
              <a:defRPr lang="en-GB" sz="5821"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2261810"/>
            <a:ext cx="2987422" cy="757275"/>
          </a:xfrm>
          <a:prstGeom prst="rect">
            <a:avLst/>
          </a:prstGeom>
        </p:spPr>
        <p:txBody>
          <a:bodyPr lIns="0"/>
          <a:lstStyle>
            <a:lvl1pPr>
              <a:lnSpc>
                <a:spcPts val="5701"/>
              </a:lnSpc>
              <a:defRPr lang="en-GB" sz="5821"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3353230"/>
            <a:ext cx="3325320"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3353229"/>
            <a:ext cx="2987422"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3353228"/>
            <a:ext cx="2987422"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87349530-C6CD-7B16-253D-AF41238D6664}"/>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Text Placeholder 8">
            <a:extLst>
              <a:ext uri="{FF2B5EF4-FFF2-40B4-BE49-F238E27FC236}">
                <a16:creationId xmlns:a16="http://schemas.microsoft.com/office/drawing/2014/main" id="{0F5D5893-5338-F751-A97F-AAB40E8A5F19}"/>
              </a:ext>
            </a:extLst>
          </p:cNvPr>
          <p:cNvSpPr>
            <a:spLocks noGrp="1"/>
          </p:cNvSpPr>
          <p:nvPr>
            <p:ph type="body" sz="quarter" idx="28" hasCustomPrompt="1"/>
          </p:nvPr>
        </p:nvSpPr>
        <p:spPr>
          <a:xfrm>
            <a:off x="586775" y="2261809"/>
            <a:ext cx="2987422" cy="813733"/>
          </a:xfrm>
          <a:prstGeom prst="rect">
            <a:avLst/>
          </a:prstGeom>
          <a:noFill/>
        </p:spPr>
        <p:txBody>
          <a:bodyPr lIns="0"/>
          <a:lstStyle>
            <a:lvl1pPr>
              <a:defRPr lang="en-GB" sz="5821" b="1" i="0" spc="-85" dirty="0">
                <a:gradFill flip="none" rotWithShape="1">
                  <a:gsLst>
                    <a:gs pos="0">
                      <a:srgbClr val="007C43"/>
                    </a:gs>
                    <a:gs pos="70000">
                      <a:srgbClr val="68A445"/>
                    </a:gs>
                  </a:gsLst>
                  <a:lin ang="0" scaled="1"/>
                  <a:tileRect/>
                </a:gradFill>
                <a:latin typeface="Poppins"/>
                <a:ea typeface="+mj-ea"/>
                <a:cs typeface="Poppins"/>
              </a:defRPr>
            </a:lvl1pPr>
          </a:lstStyle>
          <a:p>
            <a:pPr lvl="0">
              <a:lnSpc>
                <a:spcPct val="90000"/>
              </a:lnSpc>
            </a:pPr>
            <a:r>
              <a:rPr lang="en-GB"/>
              <a:t>edit</a:t>
            </a:r>
          </a:p>
        </p:txBody>
      </p:sp>
    </p:spTree>
    <p:extLst>
      <p:ext uri="{BB962C8B-B14F-4D97-AF65-F5344CB8AC3E}">
        <p14:creationId xmlns:p14="http://schemas.microsoft.com/office/powerpoint/2010/main" val="382354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332">
          <p15:clr>
            <a:srgbClr val="FBAE40"/>
          </p15:clr>
        </p15:guide>
        <p15:guide id="3" orient="horz" pos="977">
          <p15:clr>
            <a:srgbClr val="FBAE40"/>
          </p15:clr>
        </p15:guide>
        <p15:guide id="4" orient="horz" pos="358">
          <p15:clr>
            <a:srgbClr val="FBAE40"/>
          </p15:clr>
        </p15:guide>
        <p15:guide id="5" orient="horz" pos="659">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381664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422542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3259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1_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3146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0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7199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_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6996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0_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066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68763-CAF6-67A6-A93A-001D0189162A}"/>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5626099"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6167437" y="1592263"/>
            <a:ext cx="5626099"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3A69233C-3EE6-3DBC-019C-590F85BDAFB4}"/>
              </a:ext>
            </a:extLst>
          </p:cNvPr>
          <p:cNvSpPr>
            <a:spLocks noGrp="1"/>
          </p:cNvSpPr>
          <p:nvPr>
            <p:ph type="body" sz="quarter" idx="15"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0BB07D7-EC64-4920-9022-AC126F2F3E4D}"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98246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8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a:p>
        </p:txBody>
      </p:sp>
    </p:spTree>
    <p:extLst>
      <p:ext uri="{BB962C8B-B14F-4D97-AF65-F5344CB8AC3E}">
        <p14:creationId xmlns:p14="http://schemas.microsoft.com/office/powerpoint/2010/main" val="385655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3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5305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2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7515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2_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4441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9140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1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5200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0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59631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9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68322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613859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9179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1035332-A892-6C43-D4AF-7D1DAC470D84}"/>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5626099" cy="44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AC78F3F4-B20A-CE6E-835D-B30223588AAB}"/>
              </a:ext>
            </a:extLst>
          </p:cNvPr>
          <p:cNvSpPr>
            <a:spLocks noGrp="1"/>
          </p:cNvSpPr>
          <p:nvPr>
            <p:ph type="pic" sz="quarter" idx="17"/>
          </p:nvPr>
        </p:nvSpPr>
        <p:spPr>
          <a:xfrm flipH="1">
            <a:off x="6167436" y="1592263"/>
            <a:ext cx="5626102" cy="4500561"/>
          </a:xfrm>
          <a:custGeom>
            <a:avLst/>
            <a:gdLst>
              <a:gd name="connsiteX0" fmla="*/ 5515844 w 5626102"/>
              <a:gd name="connsiteY0" fmla="*/ 0 h 4500561"/>
              <a:gd name="connsiteX1" fmla="*/ 3777299 w 5626102"/>
              <a:gd name="connsiteY1" fmla="*/ 0 h 4500561"/>
              <a:gd name="connsiteX2" fmla="*/ 1848803 w 5626102"/>
              <a:gd name="connsiteY2" fmla="*/ 0 h 4500561"/>
              <a:gd name="connsiteX3" fmla="*/ 110258 w 5626102"/>
              <a:gd name="connsiteY3" fmla="*/ 0 h 4500561"/>
              <a:gd name="connsiteX4" fmla="*/ 0 w 5626102"/>
              <a:gd name="connsiteY4" fmla="*/ 110258 h 4500561"/>
              <a:gd name="connsiteX5" fmla="*/ 0 w 5626102"/>
              <a:gd name="connsiteY5" fmla="*/ 120245 h 4500561"/>
              <a:gd name="connsiteX6" fmla="*/ 0 w 5626102"/>
              <a:gd name="connsiteY6" fmla="*/ 193039 h 4500561"/>
              <a:gd name="connsiteX7" fmla="*/ 0 w 5626102"/>
              <a:gd name="connsiteY7" fmla="*/ 1655196 h 4500561"/>
              <a:gd name="connsiteX8" fmla="*/ 0 w 5626102"/>
              <a:gd name="connsiteY8" fmla="*/ 2845365 h 4500561"/>
              <a:gd name="connsiteX9" fmla="*/ 0 w 5626102"/>
              <a:gd name="connsiteY9" fmla="*/ 2918159 h 4500561"/>
              <a:gd name="connsiteX10" fmla="*/ 0 w 5626102"/>
              <a:gd name="connsiteY10" fmla="*/ 2928146 h 4500561"/>
              <a:gd name="connsiteX11" fmla="*/ 0 w 5626102"/>
              <a:gd name="connsiteY11" fmla="*/ 4380316 h 4500561"/>
              <a:gd name="connsiteX12" fmla="*/ 0 w 5626102"/>
              <a:gd name="connsiteY12" fmla="*/ 4390303 h 4500561"/>
              <a:gd name="connsiteX13" fmla="*/ 110258 w 5626102"/>
              <a:gd name="connsiteY13" fmla="*/ 4500561 h 4500561"/>
              <a:gd name="connsiteX14" fmla="*/ 1848803 w 5626102"/>
              <a:gd name="connsiteY14" fmla="*/ 4500561 h 4500561"/>
              <a:gd name="connsiteX15" fmla="*/ 3777299 w 5626102"/>
              <a:gd name="connsiteY15" fmla="*/ 4500561 h 4500561"/>
              <a:gd name="connsiteX16" fmla="*/ 5515844 w 5626102"/>
              <a:gd name="connsiteY16" fmla="*/ 4500561 h 4500561"/>
              <a:gd name="connsiteX17" fmla="*/ 5626102 w 5626102"/>
              <a:gd name="connsiteY17" fmla="*/ 4390303 h 4500561"/>
              <a:gd name="connsiteX18" fmla="*/ 5626102 w 5626102"/>
              <a:gd name="connsiteY18" fmla="*/ 4380316 h 4500561"/>
              <a:gd name="connsiteX19" fmla="*/ 5626102 w 5626102"/>
              <a:gd name="connsiteY19" fmla="*/ 2928146 h 4500561"/>
              <a:gd name="connsiteX20" fmla="*/ 5626102 w 5626102"/>
              <a:gd name="connsiteY20" fmla="*/ 2918159 h 4500561"/>
              <a:gd name="connsiteX21" fmla="*/ 5626102 w 5626102"/>
              <a:gd name="connsiteY21" fmla="*/ 2845365 h 4500561"/>
              <a:gd name="connsiteX22" fmla="*/ 5626102 w 5626102"/>
              <a:gd name="connsiteY22" fmla="*/ 1655196 h 4500561"/>
              <a:gd name="connsiteX23" fmla="*/ 5626102 w 5626102"/>
              <a:gd name="connsiteY23" fmla="*/ 193039 h 4500561"/>
              <a:gd name="connsiteX24" fmla="*/ 5626102 w 5626102"/>
              <a:gd name="connsiteY24" fmla="*/ 120245 h 4500561"/>
              <a:gd name="connsiteX25" fmla="*/ 5626102 w 5626102"/>
              <a:gd name="connsiteY25" fmla="*/ 110258 h 4500561"/>
              <a:gd name="connsiteX26" fmla="*/ 5515844 w 5626102"/>
              <a:gd name="connsiteY26" fmla="*/ 0 h 450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26102" h="4500561">
                <a:moveTo>
                  <a:pt x="5515844" y="0"/>
                </a:moveTo>
                <a:lnTo>
                  <a:pt x="3777299" y="0"/>
                </a:lnTo>
                <a:lnTo>
                  <a:pt x="1848803" y="0"/>
                </a:lnTo>
                <a:lnTo>
                  <a:pt x="110258" y="0"/>
                </a:lnTo>
                <a:cubicBezTo>
                  <a:pt x="49364" y="0"/>
                  <a:pt x="0" y="49364"/>
                  <a:pt x="0" y="110258"/>
                </a:cubicBezTo>
                <a:lnTo>
                  <a:pt x="0" y="120245"/>
                </a:lnTo>
                <a:lnTo>
                  <a:pt x="0" y="193039"/>
                </a:lnTo>
                <a:lnTo>
                  <a:pt x="0" y="1655196"/>
                </a:lnTo>
                <a:lnTo>
                  <a:pt x="0" y="2845365"/>
                </a:lnTo>
                <a:lnTo>
                  <a:pt x="0" y="2918159"/>
                </a:lnTo>
                <a:lnTo>
                  <a:pt x="0" y="2928146"/>
                </a:lnTo>
                <a:lnTo>
                  <a:pt x="0" y="4380316"/>
                </a:lnTo>
                <a:lnTo>
                  <a:pt x="0" y="4390303"/>
                </a:lnTo>
                <a:cubicBezTo>
                  <a:pt x="0" y="4451197"/>
                  <a:pt x="49364" y="4500561"/>
                  <a:pt x="110258" y="4500561"/>
                </a:cubicBezTo>
                <a:lnTo>
                  <a:pt x="1848803" y="4500561"/>
                </a:lnTo>
                <a:lnTo>
                  <a:pt x="3777299" y="4500561"/>
                </a:lnTo>
                <a:lnTo>
                  <a:pt x="5515844" y="4500561"/>
                </a:lnTo>
                <a:cubicBezTo>
                  <a:pt x="5576738" y="4500561"/>
                  <a:pt x="5626102" y="4451197"/>
                  <a:pt x="5626102" y="4390303"/>
                </a:cubicBezTo>
                <a:lnTo>
                  <a:pt x="5626102" y="4380316"/>
                </a:lnTo>
                <a:lnTo>
                  <a:pt x="5626102" y="2928146"/>
                </a:lnTo>
                <a:lnTo>
                  <a:pt x="5626102" y="2918159"/>
                </a:lnTo>
                <a:lnTo>
                  <a:pt x="5626102" y="2845365"/>
                </a:lnTo>
                <a:lnTo>
                  <a:pt x="5626102" y="1655196"/>
                </a:lnTo>
                <a:lnTo>
                  <a:pt x="5626102" y="193039"/>
                </a:lnTo>
                <a:lnTo>
                  <a:pt x="5626102" y="120245"/>
                </a:lnTo>
                <a:lnTo>
                  <a:pt x="5626102" y="110258"/>
                </a:lnTo>
                <a:cubicBezTo>
                  <a:pt x="5626102" y="49364"/>
                  <a:pt x="5576738" y="0"/>
                  <a:pt x="5515844" y="0"/>
                </a:cubicBezTo>
                <a:close/>
              </a:path>
            </a:pathLst>
          </a:custGeom>
        </p:spPr>
        <p:txBody>
          <a:bodyPr wrap="square">
            <a:noAutofit/>
          </a:bodyPr>
          <a:lstStyle/>
          <a:p>
            <a:r>
              <a:rPr lang="en-US"/>
              <a:t>Click icon to add picture</a:t>
            </a:r>
            <a:endParaRPr lang="en-GB"/>
          </a:p>
        </p:txBody>
      </p:sp>
      <p:sp>
        <p:nvSpPr>
          <p:cNvPr id="8" name="Text Placeholder 9">
            <a:extLst>
              <a:ext uri="{FF2B5EF4-FFF2-40B4-BE49-F238E27FC236}">
                <a16:creationId xmlns:a16="http://schemas.microsoft.com/office/drawing/2014/main" id="{3F3B300D-949B-4085-6D1E-DE68FA9577EE}"/>
              </a:ext>
            </a:extLst>
          </p:cNvPr>
          <p:cNvSpPr>
            <a:spLocks noGrp="1"/>
          </p:cNvSpPr>
          <p:nvPr>
            <p:ph type="body" sz="quarter" idx="14" hasCustomPrompt="1"/>
          </p:nvPr>
        </p:nvSpPr>
        <p:spPr>
          <a:xfrm>
            <a:off x="382587" y="6135468"/>
            <a:ext cx="11410950"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23318A6D-BBB1-467F-BA16-31BE8E699438}"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18448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6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6228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6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4646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7734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5_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0764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6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7000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6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0140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7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0685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6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1429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6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429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5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4897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Coloured panel)">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CF0A00D5-5E7A-6422-4BFB-E6E228397265}"/>
              </a:ext>
            </a:extLst>
          </p:cNvPr>
          <p:cNvSpPr>
            <a:spLocks noGrp="1"/>
          </p:cNvSpPr>
          <p:nvPr>
            <p:ph type="title"/>
          </p:nvPr>
        </p:nvSpPr>
        <p:spPr>
          <a:xfrm>
            <a:off x="382588" y="403225"/>
            <a:ext cx="5402263"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2263"/>
            <a:ext cx="5402263"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6">
            <a:extLst>
              <a:ext uri="{FF2B5EF4-FFF2-40B4-BE49-F238E27FC236}">
                <a16:creationId xmlns:a16="http://schemas.microsoft.com/office/drawing/2014/main" id="{FE9EAA78-BFC8-349D-7E65-398EEBA324A8}"/>
              </a:ext>
            </a:extLst>
          </p:cNvPr>
          <p:cNvSpPr>
            <a:spLocks noGrp="1"/>
          </p:cNvSpPr>
          <p:nvPr>
            <p:ph sz="quarter" idx="15"/>
          </p:nvPr>
        </p:nvSpPr>
        <p:spPr>
          <a:xfrm>
            <a:off x="6167439" y="-1"/>
            <a:ext cx="6024561" cy="6857999"/>
          </a:xfrm>
          <a:solidFill>
            <a:schemeClr val="bg2"/>
          </a:solidFill>
        </p:spPr>
        <p:txBody>
          <a:bodyPr lIns="396000" tIns="1638000" rIns="72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2B9C376A-2D46-0441-F7CB-2D0F864241E6}"/>
              </a:ext>
            </a:extLst>
          </p:cNvPr>
          <p:cNvSpPr>
            <a:spLocks noGrp="1"/>
          </p:cNvSpPr>
          <p:nvPr>
            <p:ph type="body" sz="quarter" idx="14" hasCustomPrompt="1"/>
          </p:nvPr>
        </p:nvSpPr>
        <p:spPr>
          <a:xfrm>
            <a:off x="382587" y="6135468"/>
            <a:ext cx="11410950"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BE48D399-D95F-4349-9110-B99D3B3A4E41}"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4" name="Rectangle 13">
            <a:extLst>
              <a:ext uri="{FF2B5EF4-FFF2-40B4-BE49-F238E27FC236}">
                <a16:creationId xmlns:a16="http://schemas.microsoft.com/office/drawing/2014/main" id="{B50AD456-47FC-44F8-860E-88A9E5EDE2A8}"/>
              </a:ext>
            </a:extLst>
          </p:cNvPr>
          <p:cNvSpPr/>
          <p:nvPr userDrawn="1"/>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panel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42149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4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8800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3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1680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0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7180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9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7323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8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1687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3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8879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2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8145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6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684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6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4468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5950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Content (Coloured panel)">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46336BA-1D21-0192-CDE3-E2F17C4B3B6C}"/>
              </a:ext>
            </a:extLst>
          </p:cNvPr>
          <p:cNvSpPr>
            <a:spLocks noGrp="1"/>
          </p:cNvSpPr>
          <p:nvPr>
            <p:ph type="title"/>
          </p:nvPr>
        </p:nvSpPr>
        <p:spPr>
          <a:xfrm>
            <a:off x="382588" y="403225"/>
            <a:ext cx="7180856"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164924"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6">
            <a:extLst>
              <a:ext uri="{FF2B5EF4-FFF2-40B4-BE49-F238E27FC236}">
                <a16:creationId xmlns:a16="http://schemas.microsoft.com/office/drawing/2014/main" id="{5DA6206D-F760-8FCD-C1FD-995D8637A703}"/>
              </a:ext>
            </a:extLst>
          </p:cNvPr>
          <p:cNvSpPr>
            <a:spLocks noGrp="1"/>
          </p:cNvSpPr>
          <p:nvPr>
            <p:ph sz="quarter" idx="16"/>
          </p:nvPr>
        </p:nvSpPr>
        <p:spPr>
          <a:xfrm>
            <a:off x="7848600" y="0"/>
            <a:ext cx="4343400" cy="6857999"/>
          </a:xfrm>
          <a:solidFill>
            <a:schemeClr val="bg2"/>
          </a:solidFill>
        </p:spPr>
        <p:txBody>
          <a:bodyPr lIns="360000" tIns="1638000" rIns="72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DA922E7F-881D-25A0-AC07-F1F2B6001EE1}"/>
              </a:ext>
            </a:extLst>
          </p:cNvPr>
          <p:cNvSpPr>
            <a:spLocks noGrp="1"/>
          </p:cNvSpPr>
          <p:nvPr>
            <p:ph type="body" sz="quarter" idx="17"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52720CD9-D609-46C3-8253-87BABBD7015C}"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6" name="Rectangle 5">
            <a:extLst>
              <a:ext uri="{FF2B5EF4-FFF2-40B4-BE49-F238E27FC236}">
                <a16:creationId xmlns:a16="http://schemas.microsoft.com/office/drawing/2014/main" id="{D99D9710-A0C2-C6B6-DD0A-A2D3CCB87BA9}"/>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panel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245309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93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0674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9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8775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9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1191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9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6230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6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448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7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3462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7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7986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7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26392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7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36066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74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072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B82DB-BD7E-51FA-5D20-8804D339FAB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51CE5656-7FA5-61B4-3496-2B4B4C9C675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019BD8B-DB8A-3742-C807-EC31D845C0EC}"/>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5" name="Footer Placeholder 4">
            <a:extLst>
              <a:ext uri="{FF2B5EF4-FFF2-40B4-BE49-F238E27FC236}">
                <a16:creationId xmlns:a16="http://schemas.microsoft.com/office/drawing/2014/main" id="{B915E2AA-3730-52E9-9047-16E294C1135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CD9FB8-A7A1-A6B0-5E4E-683D5EB667B0}"/>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0022011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and Image">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B9A2962-A043-8A6B-31F0-A893DFC32C88}"/>
              </a:ext>
            </a:extLst>
          </p:cNvPr>
          <p:cNvSpPr>
            <a:spLocks noGrp="1"/>
          </p:cNvSpPr>
          <p:nvPr>
            <p:ph type="title"/>
          </p:nvPr>
        </p:nvSpPr>
        <p:spPr>
          <a:xfrm>
            <a:off x="382588" y="403225"/>
            <a:ext cx="7180856"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164924"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13">
            <a:extLst>
              <a:ext uri="{FF2B5EF4-FFF2-40B4-BE49-F238E27FC236}">
                <a16:creationId xmlns:a16="http://schemas.microsoft.com/office/drawing/2014/main" id="{D5D38E7B-94E7-80EC-7C80-6DFEA1864798}"/>
              </a:ext>
            </a:extLst>
          </p:cNvPr>
          <p:cNvSpPr>
            <a:spLocks noGrp="1"/>
          </p:cNvSpPr>
          <p:nvPr>
            <p:ph type="pic" sz="quarter" idx="18"/>
          </p:nvPr>
        </p:nvSpPr>
        <p:spPr>
          <a:xfrm>
            <a:off x="7848600" y="0"/>
            <a:ext cx="4343400" cy="6858000"/>
          </a:xfrm>
        </p:spPr>
        <p:txBody>
          <a:bodyPr/>
          <a:lstStyle/>
          <a:p>
            <a:r>
              <a:rPr lang="en-US"/>
              <a:t>Click icon to add picture</a:t>
            </a:r>
            <a:endParaRPr lang="en-GB"/>
          </a:p>
        </p:txBody>
      </p:sp>
      <p:sp>
        <p:nvSpPr>
          <p:cNvPr id="13" name="Text Placeholder 9">
            <a:extLst>
              <a:ext uri="{FF2B5EF4-FFF2-40B4-BE49-F238E27FC236}">
                <a16:creationId xmlns:a16="http://schemas.microsoft.com/office/drawing/2014/main" id="{DA922E7F-881D-25A0-AC07-F1F2B6001EE1}"/>
              </a:ext>
            </a:extLst>
          </p:cNvPr>
          <p:cNvSpPr>
            <a:spLocks noGrp="1"/>
          </p:cNvSpPr>
          <p:nvPr>
            <p:ph type="body" sz="quarter" idx="17"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336555AF-91A3-41F0-B68B-8914D26F7750}"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2" name="Rectangle 11">
            <a:extLst>
              <a:ext uri="{FF2B5EF4-FFF2-40B4-BE49-F238E27FC236}">
                <a16:creationId xmlns:a16="http://schemas.microsoft.com/office/drawing/2014/main" id="{502B3EE4-BFAB-829E-7F48-021D089E68C1}"/>
              </a:ext>
            </a:extLst>
          </p:cNvPr>
          <p:cNvSpPr/>
          <p:nvPr userDrawn="1"/>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panel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169368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73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8163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7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748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7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63648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7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3634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6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9992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68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92537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6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6026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6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3774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6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4112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64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406005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Colum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1BAB6-8624-3312-1791-1BBA427839B4}"/>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68946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243329" y="1593621"/>
            <a:ext cx="368946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8104070" y="1593621"/>
            <a:ext cx="368946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9A98C0E0-26F0-55C2-E153-78284C244622}"/>
              </a:ext>
            </a:extLst>
          </p:cNvPr>
          <p:cNvSpPr>
            <a:spLocks noGrp="1"/>
          </p:cNvSpPr>
          <p:nvPr>
            <p:ph type="body" sz="quarter" idx="16"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18A7B925-5BE5-4C73-AF91-D318C3B2EC59}"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84732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6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8041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6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51208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6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42928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6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88483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5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15490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5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0828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16368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7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err="1"/>
              <a:t>Aquistion</a:t>
            </a:r>
            <a:r>
              <a:rPr lang="en-GB"/>
              <a:t> deal time line &amp; key learnings</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3764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6AC2B-5919-EF23-8DF2-1A6D8F73A56B}"/>
              </a:ext>
            </a:extLst>
          </p:cNvPr>
          <p:cNvSpPr>
            <a:spLocks noGrp="1"/>
          </p:cNvSpPr>
          <p:nvPr>
            <p:ph type="title"/>
          </p:nvPr>
        </p:nvSpPr>
        <p:spPr>
          <a:xfrm>
            <a:off x="838471" y="364850"/>
            <a:ext cx="10515058" cy="1325584"/>
          </a:xfrm>
          <a:prstGeom prst="rect">
            <a:avLst/>
          </a:prstGeo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C397D6C7-9E63-AA96-151C-585A3DD72959}"/>
              </a:ext>
            </a:extLst>
          </p:cNvPr>
          <p:cNvSpPr>
            <a:spLocks noGrp="1"/>
          </p:cNvSpPr>
          <p:nvPr>
            <p:ph type="sldNum" sz="quarter" idx="10"/>
          </p:nvPr>
        </p:nvSpPr>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91910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6"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7557"/>
            <a:ext cx="1297759" cy="657774"/>
          </a:xfrm>
          <a:prstGeom prst="rect">
            <a:avLst/>
          </a:prstGeom>
        </p:spPr>
      </p:pic>
    </p:spTree>
    <p:extLst>
      <p:ext uri="{BB962C8B-B14F-4D97-AF65-F5344CB8AC3E}">
        <p14:creationId xmlns:p14="http://schemas.microsoft.com/office/powerpoint/2010/main" val="77307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Column Content ">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66D8AF-2F55-696A-EF6F-1BC3DBB30E31}"/>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3277659" y="1593621"/>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6172730" y="1595526"/>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a:extLst>
              <a:ext uri="{FF2B5EF4-FFF2-40B4-BE49-F238E27FC236}">
                <a16:creationId xmlns:a16="http://schemas.microsoft.com/office/drawing/2014/main" id="{70F4ED81-A228-6130-6820-4C6470D1F580}"/>
              </a:ext>
            </a:extLst>
          </p:cNvPr>
          <p:cNvSpPr>
            <a:spLocks noGrp="1"/>
          </p:cNvSpPr>
          <p:nvPr>
            <p:ph sz="quarter" idx="16"/>
          </p:nvPr>
        </p:nvSpPr>
        <p:spPr>
          <a:xfrm>
            <a:off x="9067801" y="1595526"/>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AE6BD504-A916-D487-4B37-4E5E04904CAD}"/>
              </a:ext>
            </a:extLst>
          </p:cNvPr>
          <p:cNvSpPr>
            <a:spLocks noGrp="1"/>
          </p:cNvSpPr>
          <p:nvPr>
            <p:ph type="body" sz="quarter" idx="17"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E9857CA3-04D6-4F53-8451-58DD27E8524E}"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60554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383488"/>
            <a:ext cx="8105269" cy="785532"/>
          </a:xfrm>
          <a:prstGeom prst="rect">
            <a:avLst/>
          </a:prstGeom>
        </p:spPr>
        <p:txBody>
          <a:bodyPr lIns="0"/>
          <a:lstStyle>
            <a:lvl1pPr>
              <a:lnSpc>
                <a:spcPct val="90000"/>
              </a:lnSpc>
              <a:defRPr lang="en-GB" sz="4003"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9"/>
            <a:ext cx="11090638" cy="4990437"/>
          </a:xfrm>
          <a:prstGeom prst="rect">
            <a:avLst/>
          </a:prstGeom>
        </p:spPr>
        <p:txBody>
          <a:bodyPr/>
          <a:lstStyle/>
          <a:p>
            <a:endParaRPr lang="en-GB"/>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9707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9"/>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4992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255118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44690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2"/>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9123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_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2"/>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188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6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09869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7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2" y="2411933"/>
            <a:ext cx="510883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300"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81"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62"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43"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23"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12399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7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5228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6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79423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Column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6B8D84-E9FE-2CF3-0C2F-0C41CC12D089}"/>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324"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2698486"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5014648"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a:extLst>
              <a:ext uri="{FF2B5EF4-FFF2-40B4-BE49-F238E27FC236}">
                <a16:creationId xmlns:a16="http://schemas.microsoft.com/office/drawing/2014/main" id="{70F4ED81-A228-6130-6820-4C6470D1F580}"/>
              </a:ext>
            </a:extLst>
          </p:cNvPr>
          <p:cNvSpPr>
            <a:spLocks noGrp="1"/>
          </p:cNvSpPr>
          <p:nvPr>
            <p:ph sz="quarter" idx="16"/>
          </p:nvPr>
        </p:nvSpPr>
        <p:spPr>
          <a:xfrm>
            <a:off x="7330810"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6">
            <a:extLst>
              <a:ext uri="{FF2B5EF4-FFF2-40B4-BE49-F238E27FC236}">
                <a16:creationId xmlns:a16="http://schemas.microsoft.com/office/drawing/2014/main" id="{B15F4F2B-279B-00A7-3FA7-1299DCB823B9}"/>
              </a:ext>
            </a:extLst>
          </p:cNvPr>
          <p:cNvSpPr>
            <a:spLocks noGrp="1"/>
          </p:cNvSpPr>
          <p:nvPr>
            <p:ph sz="quarter" idx="17"/>
          </p:nvPr>
        </p:nvSpPr>
        <p:spPr>
          <a:xfrm>
            <a:off x="9646972"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1B291738-D43F-9D8B-2659-421D0BDAD3BD}"/>
              </a:ext>
            </a:extLst>
          </p:cNvPr>
          <p:cNvSpPr>
            <a:spLocks noGrp="1"/>
          </p:cNvSpPr>
          <p:nvPr>
            <p:ph type="body" sz="quarter" idx="18" hasCustomPrompt="1"/>
          </p:nvPr>
        </p:nvSpPr>
        <p:spPr>
          <a:xfrm>
            <a:off x="382586" y="6135468"/>
            <a:ext cx="11410683"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B904D913-FEF3-4822-979B-50615CD51B51}"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24909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7_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3"/>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2"/>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35571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6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3"/>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2"/>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06056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3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6923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68308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76165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0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2"/>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419125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9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14616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8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508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06919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_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0" y="2639797"/>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20048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 Box Content ">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7973C4E-1417-087F-6A33-0E853D4E2BBD}"/>
              </a:ext>
            </a:extLst>
          </p:cNvPr>
          <p:cNvSpPr>
            <a:spLocks noGrp="1"/>
          </p:cNvSpPr>
          <p:nvPr>
            <p:ph type="title"/>
          </p:nvPr>
        </p:nvSpPr>
        <p:spPr/>
        <p:txBody>
          <a:bodyPr vert="horz"/>
          <a:lstStyle/>
          <a:p>
            <a:r>
              <a:rPr lang="en-US"/>
              <a:t>Click to edit Master title style</a:t>
            </a:r>
            <a:endParaRPr lang="en-GB"/>
          </a:p>
        </p:txBody>
      </p:sp>
      <p:sp>
        <p:nvSpPr>
          <p:cNvPr id="26" name="Content Placeholder 25">
            <a:extLst>
              <a:ext uri="{FF2B5EF4-FFF2-40B4-BE49-F238E27FC236}">
                <a16:creationId xmlns:a16="http://schemas.microsoft.com/office/drawing/2014/main" id="{833BC742-D40C-1DEA-4244-EF021366FFF6}"/>
              </a:ext>
            </a:extLst>
          </p:cNvPr>
          <p:cNvSpPr>
            <a:spLocks noGrp="1"/>
          </p:cNvSpPr>
          <p:nvPr>
            <p:ph sz="quarter" idx="13"/>
          </p:nvPr>
        </p:nvSpPr>
        <p:spPr>
          <a:xfrm>
            <a:off x="3825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6">
            <a:extLst>
              <a:ext uri="{FF2B5EF4-FFF2-40B4-BE49-F238E27FC236}">
                <a16:creationId xmlns:a16="http://schemas.microsoft.com/office/drawing/2014/main" id="{010ACC1A-0EBE-E7E4-6129-12E33033C092}"/>
              </a:ext>
            </a:extLst>
          </p:cNvPr>
          <p:cNvSpPr>
            <a:spLocks noGrp="1"/>
          </p:cNvSpPr>
          <p:nvPr>
            <p:ph sz="quarter" idx="14"/>
          </p:nvPr>
        </p:nvSpPr>
        <p:spPr>
          <a:xfrm>
            <a:off x="32781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27">
            <a:extLst>
              <a:ext uri="{FF2B5EF4-FFF2-40B4-BE49-F238E27FC236}">
                <a16:creationId xmlns:a16="http://schemas.microsoft.com/office/drawing/2014/main" id="{2E996EA8-76E4-1055-8B50-BB5B9F8377F2}"/>
              </a:ext>
            </a:extLst>
          </p:cNvPr>
          <p:cNvSpPr>
            <a:spLocks noGrp="1"/>
          </p:cNvSpPr>
          <p:nvPr>
            <p:ph sz="quarter" idx="15"/>
          </p:nvPr>
        </p:nvSpPr>
        <p:spPr>
          <a:xfrm>
            <a:off x="61737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Content Placeholder 28">
            <a:extLst>
              <a:ext uri="{FF2B5EF4-FFF2-40B4-BE49-F238E27FC236}">
                <a16:creationId xmlns:a16="http://schemas.microsoft.com/office/drawing/2014/main" id="{0E1FD717-821B-04EE-3F39-B75110B78D2E}"/>
              </a:ext>
            </a:extLst>
          </p:cNvPr>
          <p:cNvSpPr>
            <a:spLocks noGrp="1"/>
          </p:cNvSpPr>
          <p:nvPr>
            <p:ph sz="quarter" idx="16"/>
          </p:nvPr>
        </p:nvSpPr>
        <p:spPr>
          <a:xfrm>
            <a:off x="90693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Content Placeholder 29">
            <a:extLst>
              <a:ext uri="{FF2B5EF4-FFF2-40B4-BE49-F238E27FC236}">
                <a16:creationId xmlns:a16="http://schemas.microsoft.com/office/drawing/2014/main" id="{FFE27968-0433-1CC8-D73B-207828541E7B}"/>
              </a:ext>
            </a:extLst>
          </p:cNvPr>
          <p:cNvSpPr>
            <a:spLocks noGrp="1"/>
          </p:cNvSpPr>
          <p:nvPr>
            <p:ph sz="quarter" idx="17"/>
          </p:nvPr>
        </p:nvSpPr>
        <p:spPr>
          <a:xfrm>
            <a:off x="3825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30">
            <a:extLst>
              <a:ext uri="{FF2B5EF4-FFF2-40B4-BE49-F238E27FC236}">
                <a16:creationId xmlns:a16="http://schemas.microsoft.com/office/drawing/2014/main" id="{1C1AED4B-840D-C0C5-4030-B56AFAEF4F6F}"/>
              </a:ext>
            </a:extLst>
          </p:cNvPr>
          <p:cNvSpPr>
            <a:spLocks noGrp="1"/>
          </p:cNvSpPr>
          <p:nvPr>
            <p:ph sz="quarter" idx="18"/>
          </p:nvPr>
        </p:nvSpPr>
        <p:spPr>
          <a:xfrm>
            <a:off x="32781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31">
            <a:extLst>
              <a:ext uri="{FF2B5EF4-FFF2-40B4-BE49-F238E27FC236}">
                <a16:creationId xmlns:a16="http://schemas.microsoft.com/office/drawing/2014/main" id="{EBD65AA3-9F18-4DBD-6E3C-E5EC70199C20}"/>
              </a:ext>
            </a:extLst>
          </p:cNvPr>
          <p:cNvSpPr>
            <a:spLocks noGrp="1"/>
          </p:cNvSpPr>
          <p:nvPr>
            <p:ph sz="quarter" idx="19"/>
          </p:nvPr>
        </p:nvSpPr>
        <p:spPr>
          <a:xfrm>
            <a:off x="61737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32">
            <a:extLst>
              <a:ext uri="{FF2B5EF4-FFF2-40B4-BE49-F238E27FC236}">
                <a16:creationId xmlns:a16="http://schemas.microsoft.com/office/drawing/2014/main" id="{EF6C248B-EB2A-D27E-2D6A-25773C25BF55}"/>
              </a:ext>
            </a:extLst>
          </p:cNvPr>
          <p:cNvSpPr>
            <a:spLocks noGrp="1"/>
          </p:cNvSpPr>
          <p:nvPr>
            <p:ph sz="quarter" idx="20"/>
          </p:nvPr>
        </p:nvSpPr>
        <p:spPr>
          <a:xfrm>
            <a:off x="90693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F2B3CD09-C8FF-8026-C233-2B7F637CD96D}"/>
              </a:ext>
            </a:extLst>
          </p:cNvPr>
          <p:cNvSpPr>
            <a:spLocks noGrp="1"/>
          </p:cNvSpPr>
          <p:nvPr>
            <p:ph type="body" sz="quarter" idx="21"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A7728EC-6869-BF41-19DA-8BE69F479A12}"/>
              </a:ext>
            </a:extLst>
          </p:cNvPr>
          <p:cNvSpPr>
            <a:spLocks noGrp="1"/>
          </p:cNvSpPr>
          <p:nvPr>
            <p:ph type="dt" sz="half" idx="12"/>
          </p:nvPr>
        </p:nvSpPr>
        <p:spPr/>
        <p:txBody>
          <a:bodyPr/>
          <a:lstStyle/>
          <a:p>
            <a:fld id="{17A00E87-D74F-4393-AEAA-24EF260EC224}" type="datetime3">
              <a:rPr lang="en-GB" smtClean="0"/>
              <a:t>5 December, 2025</a:t>
            </a:fld>
            <a:endParaRPr lang="en-GB"/>
          </a:p>
        </p:txBody>
      </p:sp>
      <p:sp>
        <p:nvSpPr>
          <p:cNvPr id="3" name="Footer Placeholder 2">
            <a:extLst>
              <a:ext uri="{FF2B5EF4-FFF2-40B4-BE49-F238E27FC236}">
                <a16:creationId xmlns:a16="http://schemas.microsoft.com/office/drawing/2014/main" id="{E0231CFE-F5B9-1AAB-AA10-5CBB4F72D83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4D4DABB2-D123-5DFD-CD53-FBB7050A8D8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7" name="Rectangle 6">
            <a:extLst>
              <a:ext uri="{FF2B5EF4-FFF2-40B4-BE49-F238E27FC236}">
                <a16:creationId xmlns:a16="http://schemas.microsoft.com/office/drawing/2014/main" id="{969D2227-F556-6350-06C6-2CCE23109977}"/>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1250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5" y="2"/>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7"/>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3"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97731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3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26042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543426"/>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564662"/>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8"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9"/>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6734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4" y="2181391"/>
            <a:ext cx="4486318"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9"/>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8"/>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2894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2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37269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46721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1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4"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8069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0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157986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1" y="3"/>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306092"/>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610328"/>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9"/>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vl2pPr>
              <a:defRPr sz="7278" b="1">
                <a:latin typeface="Poppins" panose="00000500000000000000" pitchFamily="2" charset="0"/>
                <a:cs typeface="Poppins" panose="00000500000000000000" pitchFamily="2" charset="0"/>
              </a:defRPr>
            </a:lvl2pPr>
            <a:lvl3pPr>
              <a:defRPr sz="7278" b="1">
                <a:latin typeface="Poppins" panose="00000500000000000000" pitchFamily="2" charset="0"/>
                <a:cs typeface="Poppins" panose="00000500000000000000" pitchFamily="2" charset="0"/>
              </a:defRPr>
            </a:lvl3pPr>
            <a:lvl4pPr>
              <a:defRPr sz="7278" b="1">
                <a:latin typeface="Poppins" panose="00000500000000000000" pitchFamily="2" charset="0"/>
                <a:cs typeface="Poppins" panose="00000500000000000000" pitchFamily="2" charset="0"/>
              </a:defRPr>
            </a:lvl4pPr>
            <a:lvl5pPr>
              <a:defRPr sz="7278"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5301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3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5"/>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5" y="1746144"/>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3"/>
            <a:ext cx="5516834" cy="229550"/>
          </a:xfrm>
          <a:prstGeom prst="rect">
            <a:avLst/>
          </a:prstGeom>
        </p:spPr>
        <p:txBody>
          <a:bodyPr vert="horz" wrap="square" lIns="0" tIns="12700" rIns="0" bIns="0" rtlCol="0">
            <a:spAutoFit/>
          </a:bodyPr>
          <a:lstStyle>
            <a:lvl1pPr>
              <a:defRPr lang="en-US" sz="1214"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2"/>
            <a:ext cx="5307105" cy="5147351"/>
          </a:xfrm>
          <a:prstGeom prst="rect">
            <a:avLst/>
          </a:prstGeom>
        </p:spPr>
        <p:txBody>
          <a:bodyPr/>
          <a:lstStyle/>
          <a:p>
            <a:endParaRPr lang="en-GB"/>
          </a:p>
        </p:txBody>
      </p:sp>
    </p:spTree>
    <p:extLst>
      <p:ext uri="{BB962C8B-B14F-4D97-AF65-F5344CB8AC3E}">
        <p14:creationId xmlns:p14="http://schemas.microsoft.com/office/powerpoint/2010/main" val="173244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4">
                <a:solidFill>
                  <a:srgbClr val="282828"/>
                </a:solidFill>
                <a:latin typeface="Poppins" panose="00000500000000000000" pitchFamily="2" charset="0"/>
                <a:cs typeface="Poppins" panose="00000500000000000000" pitchFamily="2" charset="0"/>
              </a:defRPr>
            </a:lvl1pPr>
            <a:lvl2pPr algn="l">
              <a:defRPr sz="1214">
                <a:solidFill>
                  <a:srgbClr val="282828"/>
                </a:solidFill>
                <a:latin typeface="Poppins" panose="00000500000000000000" pitchFamily="2" charset="0"/>
                <a:cs typeface="Poppins" panose="00000500000000000000" pitchFamily="2" charset="0"/>
              </a:defRPr>
            </a:lvl2pPr>
            <a:lvl3pPr algn="l">
              <a:defRPr sz="1214">
                <a:solidFill>
                  <a:srgbClr val="282828"/>
                </a:solidFill>
                <a:latin typeface="Poppins" panose="00000500000000000000" pitchFamily="2" charset="0"/>
                <a:cs typeface="Poppins" panose="00000500000000000000" pitchFamily="2" charset="0"/>
              </a:defRPr>
            </a:lvl3pPr>
            <a:lvl4pPr algn="l">
              <a:defRPr sz="1214">
                <a:solidFill>
                  <a:srgbClr val="282828"/>
                </a:solidFill>
                <a:latin typeface="Poppins" panose="00000500000000000000" pitchFamily="2" charset="0"/>
                <a:cs typeface="Poppins" panose="00000500000000000000" pitchFamily="2" charset="0"/>
              </a:defRPr>
            </a:lvl4pPr>
            <a:lvl5pPr algn="l">
              <a:defRPr sz="1214">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4">
                <a:solidFill>
                  <a:srgbClr val="282828"/>
                </a:solidFill>
                <a:latin typeface="Poppins" panose="00000500000000000000" pitchFamily="2" charset="0"/>
                <a:cs typeface="Poppins" panose="00000500000000000000" pitchFamily="2" charset="0"/>
              </a:defRPr>
            </a:lvl1pPr>
            <a:lvl2pPr algn="l">
              <a:defRPr sz="1214">
                <a:solidFill>
                  <a:srgbClr val="282828"/>
                </a:solidFill>
                <a:latin typeface="Poppins" panose="00000500000000000000" pitchFamily="2" charset="0"/>
                <a:cs typeface="Poppins" panose="00000500000000000000" pitchFamily="2" charset="0"/>
              </a:defRPr>
            </a:lvl2pPr>
            <a:lvl3pPr algn="l">
              <a:defRPr sz="1214">
                <a:solidFill>
                  <a:srgbClr val="282828"/>
                </a:solidFill>
                <a:latin typeface="Poppins" panose="00000500000000000000" pitchFamily="2" charset="0"/>
                <a:cs typeface="Poppins" panose="00000500000000000000" pitchFamily="2" charset="0"/>
              </a:defRPr>
            </a:lvl3pPr>
            <a:lvl4pPr algn="l">
              <a:defRPr sz="1214">
                <a:solidFill>
                  <a:srgbClr val="282828"/>
                </a:solidFill>
                <a:latin typeface="Poppins" panose="00000500000000000000" pitchFamily="2" charset="0"/>
                <a:cs typeface="Poppins" panose="00000500000000000000" pitchFamily="2" charset="0"/>
              </a:defRPr>
            </a:lvl4pPr>
            <a:lvl5pPr algn="l">
              <a:defRPr sz="1214">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7160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lour Background and Content">
    <p:bg>
      <p:bgPr>
        <a:solidFill>
          <a:srgbClr val="C7FFC6"/>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60F7AC-5D6C-2C65-5880-486692521CCB}"/>
              </a:ext>
            </a:extLst>
          </p:cNvPr>
          <p:cNvSpPr>
            <a:spLocks noGrp="1"/>
          </p:cNvSpPr>
          <p:nvPr>
            <p:ph type="title"/>
          </p:nvPr>
        </p:nvSpPr>
        <p:spPr/>
        <p:txBody>
          <a:bodyPr vert="horz"/>
          <a:lstStyle/>
          <a:p>
            <a:r>
              <a:rPr lang="en-US"/>
              <a:t>Click to edit Master title style</a:t>
            </a:r>
            <a:endParaRPr lang="en-GB"/>
          </a:p>
        </p:txBody>
      </p:sp>
      <p:sp>
        <p:nvSpPr>
          <p:cNvPr id="11" name="Text Placeholder 10">
            <a:extLst>
              <a:ext uri="{FF2B5EF4-FFF2-40B4-BE49-F238E27FC236}">
                <a16:creationId xmlns:a16="http://schemas.microsoft.com/office/drawing/2014/main" id="{A548D859-6035-97D8-AE72-09A2AA408A0E}"/>
              </a:ext>
            </a:extLst>
          </p:cNvPr>
          <p:cNvSpPr>
            <a:spLocks noGrp="1"/>
          </p:cNvSpPr>
          <p:nvPr>
            <p:ph type="body" sz="quarter" idx="13"/>
          </p:nvPr>
        </p:nvSpPr>
        <p:spPr>
          <a:xfrm>
            <a:off x="382588" y="1592263"/>
            <a:ext cx="11410950" cy="4503420"/>
          </a:xfrm>
          <a:custGeom>
            <a:avLst/>
            <a:gdLst>
              <a:gd name="connsiteX0" fmla="*/ 110514 w 11410950"/>
              <a:gd name="connsiteY0" fmla="*/ 0 h 4503420"/>
              <a:gd name="connsiteX1" fmla="*/ 11300436 w 11410950"/>
              <a:gd name="connsiteY1" fmla="*/ 0 h 4503420"/>
              <a:gd name="connsiteX2" fmla="*/ 11410950 w 11410950"/>
              <a:gd name="connsiteY2" fmla="*/ 110514 h 4503420"/>
              <a:gd name="connsiteX3" fmla="*/ 11410950 w 11410950"/>
              <a:gd name="connsiteY3" fmla="*/ 4392906 h 4503420"/>
              <a:gd name="connsiteX4" fmla="*/ 11300436 w 11410950"/>
              <a:gd name="connsiteY4" fmla="*/ 4503420 h 4503420"/>
              <a:gd name="connsiteX5" fmla="*/ 110514 w 11410950"/>
              <a:gd name="connsiteY5" fmla="*/ 4503420 h 4503420"/>
              <a:gd name="connsiteX6" fmla="*/ 0 w 11410950"/>
              <a:gd name="connsiteY6" fmla="*/ 4392906 h 4503420"/>
              <a:gd name="connsiteX7" fmla="*/ 0 w 11410950"/>
              <a:gd name="connsiteY7" fmla="*/ 110514 h 4503420"/>
              <a:gd name="connsiteX8" fmla="*/ 110514 w 11410950"/>
              <a:gd name="connsiteY8" fmla="*/ 0 h 45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0950" h="4503420">
                <a:moveTo>
                  <a:pt x="110514" y="0"/>
                </a:moveTo>
                <a:lnTo>
                  <a:pt x="11300436" y="0"/>
                </a:lnTo>
                <a:cubicBezTo>
                  <a:pt x="11361471" y="0"/>
                  <a:pt x="11410950" y="49479"/>
                  <a:pt x="11410950" y="110514"/>
                </a:cubicBezTo>
                <a:lnTo>
                  <a:pt x="11410950" y="4392906"/>
                </a:lnTo>
                <a:cubicBezTo>
                  <a:pt x="11410950" y="4453941"/>
                  <a:pt x="11361471" y="4503420"/>
                  <a:pt x="11300436" y="4503420"/>
                </a:cubicBezTo>
                <a:lnTo>
                  <a:pt x="110514" y="4503420"/>
                </a:lnTo>
                <a:cubicBezTo>
                  <a:pt x="49479" y="4503420"/>
                  <a:pt x="0" y="4453941"/>
                  <a:pt x="0" y="4392906"/>
                </a:cubicBezTo>
                <a:lnTo>
                  <a:pt x="0" y="110514"/>
                </a:lnTo>
                <a:cubicBezTo>
                  <a:pt x="0" y="49479"/>
                  <a:pt x="49479" y="0"/>
                  <a:pt x="110514" y="0"/>
                </a:cubicBezTo>
                <a:close/>
              </a:path>
            </a:pathLst>
          </a:custGeom>
          <a:solidFill>
            <a:schemeClr val="bg1"/>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a:extLst>
              <a:ext uri="{FF2B5EF4-FFF2-40B4-BE49-F238E27FC236}">
                <a16:creationId xmlns:a16="http://schemas.microsoft.com/office/drawing/2014/main" id="{ABDDC91C-D2C0-29BC-EB3C-10CD00452EC2}"/>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580C891-082A-39B9-12C0-386449D6C78A}"/>
              </a:ext>
            </a:extLst>
          </p:cNvPr>
          <p:cNvSpPr>
            <a:spLocks noGrp="1"/>
          </p:cNvSpPr>
          <p:nvPr>
            <p:ph type="dt" sz="half" idx="12"/>
          </p:nvPr>
        </p:nvSpPr>
        <p:spPr/>
        <p:txBody>
          <a:bodyPr/>
          <a:lstStyle/>
          <a:p>
            <a:fld id="{5DCF4916-2DDA-4596-A5E4-FCCC6EFF6C8C}" type="datetime3">
              <a:rPr lang="en-GB" smtClean="0"/>
              <a:t>5 December, 2025</a:t>
            </a:fld>
            <a:endParaRPr lang="en-GB"/>
          </a:p>
        </p:txBody>
      </p:sp>
      <p:sp>
        <p:nvSpPr>
          <p:cNvPr id="3" name="Footer Placeholder 2">
            <a:extLst>
              <a:ext uri="{FF2B5EF4-FFF2-40B4-BE49-F238E27FC236}">
                <a16:creationId xmlns:a16="http://schemas.microsoft.com/office/drawing/2014/main" id="{6AEF036E-F351-F24E-92EC-E6C880EDF9E2}"/>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6268E5DB-274D-3140-E129-DA7B5BBF9646}"/>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2" name="Rectangle 11">
            <a:extLst>
              <a:ext uri="{FF2B5EF4-FFF2-40B4-BE49-F238E27FC236}">
                <a16:creationId xmlns:a16="http://schemas.microsoft.com/office/drawing/2014/main" id="{5780DECE-EB79-91E5-73E3-3EE329BA64CF}"/>
              </a:ext>
            </a:extLst>
          </p:cNvPr>
          <p:cNvSpPr/>
          <p:nvPr userDrawn="1"/>
        </p:nvSpPr>
        <p:spPr>
          <a:xfrm>
            <a:off x="0" y="6959600"/>
            <a:ext cx="1076960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Calm Green and Light Grey.</a:t>
            </a:r>
          </a:p>
        </p:txBody>
      </p:sp>
    </p:spTree>
    <p:extLst>
      <p:ext uri="{BB962C8B-B14F-4D97-AF65-F5344CB8AC3E}">
        <p14:creationId xmlns:p14="http://schemas.microsoft.com/office/powerpoint/2010/main" val="362849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5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4">
                <a:solidFill>
                  <a:schemeClr val="bg1"/>
                </a:solidFill>
                <a:latin typeface="Poppins" panose="00000500000000000000" pitchFamily="2" charset="0"/>
                <a:cs typeface="Poppins" panose="00000500000000000000" pitchFamily="2" charset="0"/>
              </a:defRPr>
            </a:lvl1pPr>
            <a:lvl2pPr algn="l">
              <a:defRPr sz="1214">
                <a:solidFill>
                  <a:schemeClr val="bg1"/>
                </a:solidFill>
                <a:latin typeface="Poppins" panose="00000500000000000000" pitchFamily="2" charset="0"/>
                <a:cs typeface="Poppins" panose="00000500000000000000" pitchFamily="2" charset="0"/>
              </a:defRPr>
            </a:lvl2pPr>
            <a:lvl3pPr algn="l">
              <a:defRPr sz="1214">
                <a:solidFill>
                  <a:schemeClr val="bg1"/>
                </a:solidFill>
                <a:latin typeface="Poppins" panose="00000500000000000000" pitchFamily="2" charset="0"/>
                <a:cs typeface="Poppins" panose="00000500000000000000" pitchFamily="2" charset="0"/>
              </a:defRPr>
            </a:lvl3pPr>
            <a:lvl4pPr algn="l">
              <a:defRPr sz="1214">
                <a:solidFill>
                  <a:schemeClr val="bg1"/>
                </a:solidFill>
                <a:latin typeface="Poppins" panose="00000500000000000000" pitchFamily="2" charset="0"/>
                <a:cs typeface="Poppins" panose="00000500000000000000" pitchFamily="2" charset="0"/>
              </a:defRPr>
            </a:lvl4pPr>
            <a:lvl5pPr algn="l">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4">
                <a:solidFill>
                  <a:schemeClr val="bg1"/>
                </a:solidFill>
                <a:latin typeface="Poppins" panose="00000500000000000000" pitchFamily="2" charset="0"/>
                <a:cs typeface="Poppins" panose="00000500000000000000" pitchFamily="2" charset="0"/>
              </a:defRPr>
            </a:lvl1pPr>
            <a:lvl2pPr algn="l">
              <a:defRPr sz="1214">
                <a:solidFill>
                  <a:schemeClr val="bg1"/>
                </a:solidFill>
                <a:latin typeface="Poppins" panose="00000500000000000000" pitchFamily="2" charset="0"/>
                <a:cs typeface="Poppins" panose="00000500000000000000" pitchFamily="2" charset="0"/>
              </a:defRPr>
            </a:lvl2pPr>
            <a:lvl3pPr algn="l">
              <a:defRPr sz="1214">
                <a:solidFill>
                  <a:schemeClr val="bg1"/>
                </a:solidFill>
                <a:latin typeface="Poppins" panose="00000500000000000000" pitchFamily="2" charset="0"/>
                <a:cs typeface="Poppins" panose="00000500000000000000" pitchFamily="2" charset="0"/>
              </a:defRPr>
            </a:lvl3pPr>
            <a:lvl4pPr algn="l">
              <a:defRPr sz="1214">
                <a:solidFill>
                  <a:schemeClr val="bg1"/>
                </a:solidFill>
                <a:latin typeface="Poppins" panose="00000500000000000000" pitchFamily="2" charset="0"/>
                <a:cs typeface="Poppins" panose="00000500000000000000" pitchFamily="2" charset="0"/>
              </a:defRPr>
            </a:lvl4pPr>
            <a:lvl5pPr algn="l">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5974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4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69833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16664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49406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41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2"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40"/>
            <a:ext cx="6100542"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11832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40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40"/>
            <a:ext cx="6100542"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4468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39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90" y="3"/>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2116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8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90" y="3"/>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0789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37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263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6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5189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lour Content ">
    <p:bg>
      <p:bgPr>
        <a:solidFill>
          <a:schemeClr val="bg1"/>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99BFB743-0FAA-3401-A4B3-9393024ECD54}"/>
              </a:ext>
            </a:extLst>
          </p:cNvPr>
          <p:cNvSpPr>
            <a:spLocks noGrp="1"/>
          </p:cNvSpPr>
          <p:nvPr>
            <p:ph type="title"/>
          </p:nvPr>
        </p:nvSpPr>
        <p:spPr/>
        <p:txBody>
          <a:bodyPr vert="horz"/>
          <a:lstStyle/>
          <a:p>
            <a:r>
              <a:rPr lang="en-US"/>
              <a:t>Click to edit Master title style</a:t>
            </a:r>
            <a:endParaRPr lang="en-GB"/>
          </a:p>
        </p:txBody>
      </p:sp>
      <p:sp>
        <p:nvSpPr>
          <p:cNvPr id="11" name="Text Placeholder 10">
            <a:extLst>
              <a:ext uri="{FF2B5EF4-FFF2-40B4-BE49-F238E27FC236}">
                <a16:creationId xmlns:a16="http://schemas.microsoft.com/office/drawing/2014/main" id="{A548D859-6035-97D8-AE72-09A2AA408A0E}"/>
              </a:ext>
            </a:extLst>
          </p:cNvPr>
          <p:cNvSpPr>
            <a:spLocks noGrp="1"/>
          </p:cNvSpPr>
          <p:nvPr>
            <p:ph type="body" sz="quarter" idx="13"/>
          </p:nvPr>
        </p:nvSpPr>
        <p:spPr>
          <a:xfrm>
            <a:off x="382588" y="1592263"/>
            <a:ext cx="11410950" cy="4503420"/>
          </a:xfrm>
          <a:custGeom>
            <a:avLst/>
            <a:gdLst>
              <a:gd name="connsiteX0" fmla="*/ 110514 w 11410950"/>
              <a:gd name="connsiteY0" fmla="*/ 0 h 4503420"/>
              <a:gd name="connsiteX1" fmla="*/ 11300436 w 11410950"/>
              <a:gd name="connsiteY1" fmla="*/ 0 h 4503420"/>
              <a:gd name="connsiteX2" fmla="*/ 11410950 w 11410950"/>
              <a:gd name="connsiteY2" fmla="*/ 110514 h 4503420"/>
              <a:gd name="connsiteX3" fmla="*/ 11410950 w 11410950"/>
              <a:gd name="connsiteY3" fmla="*/ 4392906 h 4503420"/>
              <a:gd name="connsiteX4" fmla="*/ 11300436 w 11410950"/>
              <a:gd name="connsiteY4" fmla="*/ 4503420 h 4503420"/>
              <a:gd name="connsiteX5" fmla="*/ 110514 w 11410950"/>
              <a:gd name="connsiteY5" fmla="*/ 4503420 h 4503420"/>
              <a:gd name="connsiteX6" fmla="*/ 0 w 11410950"/>
              <a:gd name="connsiteY6" fmla="*/ 4392906 h 4503420"/>
              <a:gd name="connsiteX7" fmla="*/ 0 w 11410950"/>
              <a:gd name="connsiteY7" fmla="*/ 110514 h 4503420"/>
              <a:gd name="connsiteX8" fmla="*/ 110514 w 11410950"/>
              <a:gd name="connsiteY8" fmla="*/ 0 h 45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0950" h="4503420">
                <a:moveTo>
                  <a:pt x="110514" y="0"/>
                </a:moveTo>
                <a:lnTo>
                  <a:pt x="11300436" y="0"/>
                </a:lnTo>
                <a:cubicBezTo>
                  <a:pt x="11361471" y="0"/>
                  <a:pt x="11410950" y="49479"/>
                  <a:pt x="11410950" y="110514"/>
                </a:cubicBezTo>
                <a:lnTo>
                  <a:pt x="11410950" y="4392906"/>
                </a:lnTo>
                <a:cubicBezTo>
                  <a:pt x="11410950" y="4453941"/>
                  <a:pt x="11361471" y="4503420"/>
                  <a:pt x="11300436" y="4503420"/>
                </a:cubicBezTo>
                <a:lnTo>
                  <a:pt x="110514" y="4503420"/>
                </a:lnTo>
                <a:cubicBezTo>
                  <a:pt x="49479" y="4503420"/>
                  <a:pt x="0" y="4453941"/>
                  <a:pt x="0" y="4392906"/>
                </a:cubicBezTo>
                <a:lnTo>
                  <a:pt x="0" y="110514"/>
                </a:lnTo>
                <a:cubicBezTo>
                  <a:pt x="0" y="49479"/>
                  <a:pt x="49479" y="0"/>
                  <a:pt x="110514" y="0"/>
                </a:cubicBezTo>
                <a:close/>
              </a:path>
            </a:pathLst>
          </a:custGeom>
          <a:solidFill>
            <a:srgbClr val="6CF479"/>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A823045D-4165-EA06-5085-7543BD6F1C53}"/>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580C891-082A-39B9-12C0-386449D6C78A}"/>
              </a:ext>
            </a:extLst>
          </p:cNvPr>
          <p:cNvSpPr>
            <a:spLocks noGrp="1"/>
          </p:cNvSpPr>
          <p:nvPr>
            <p:ph type="dt" sz="half" idx="12"/>
          </p:nvPr>
        </p:nvSpPr>
        <p:spPr/>
        <p:txBody>
          <a:bodyPr/>
          <a:lstStyle/>
          <a:p>
            <a:fld id="{3FCD6323-837B-4B1C-8026-79E2F0A3E1DF}" type="datetime3">
              <a:rPr lang="en-GB" smtClean="0"/>
              <a:t>5 December, 2025</a:t>
            </a:fld>
            <a:endParaRPr lang="en-GB"/>
          </a:p>
        </p:txBody>
      </p:sp>
      <p:sp>
        <p:nvSpPr>
          <p:cNvPr id="3" name="Footer Placeholder 2">
            <a:extLst>
              <a:ext uri="{FF2B5EF4-FFF2-40B4-BE49-F238E27FC236}">
                <a16:creationId xmlns:a16="http://schemas.microsoft.com/office/drawing/2014/main" id="{6AEF036E-F351-F24E-92EC-E6C880EDF9E2}"/>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6268E5DB-274D-3140-E129-DA7B5BBF9646}"/>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A50722C3-3F19-751F-2D16-894AEC73B7C7}"/>
              </a:ext>
            </a:extLst>
          </p:cNvPr>
          <p:cNvSpPr/>
          <p:nvPr userDrawn="1"/>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17862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874975"/>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4"/>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4"/>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9"/>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42346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7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6675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0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874975"/>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4"/>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4"/>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9"/>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269765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6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7975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9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748952"/>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FFFFFF"/>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48816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3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471705"/>
            <a:ext cx="9842162"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7"/>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6"/>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108161"/>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FFFFFF"/>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0395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1"/>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2"/>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2"/>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7" y="1488348"/>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6" y="1488277"/>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147746"/>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9"/>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9"/>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8"/>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7"/>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7"/>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72858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3" y="3091624"/>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8" y="3091624"/>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6"/>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2"/>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66027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5"/>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5"/>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2"/>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1"/>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2"/>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3" y="1531032"/>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90" y="1526104"/>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99742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5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5"/>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1"/>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6"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5"/>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8"/>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0"/>
            <a:ext cx="4898366" cy="386260"/>
          </a:xfrm>
          <a:prstGeom prst="rect">
            <a:avLst/>
          </a:prstGeom>
        </p:spPr>
        <p:txBody>
          <a:bodyPr>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84961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Boxed Content">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751815A-DD25-1E6A-DFFD-275AC38D3815}"/>
              </a:ext>
            </a:extLst>
          </p:cNvPr>
          <p:cNvSpPr>
            <a:spLocks noGrp="1"/>
          </p:cNvSpPr>
          <p:nvPr>
            <p:ph type="title"/>
          </p:nvPr>
        </p:nvSpPr>
        <p:spPr/>
        <p:txBody>
          <a:bodyPr vert="horz"/>
          <a:lstStyle/>
          <a:p>
            <a:r>
              <a:rPr lang="en-US"/>
              <a:t>Click to edit Master title style</a:t>
            </a:r>
            <a:endParaRPr lang="en-GB"/>
          </a:p>
        </p:txBody>
      </p:sp>
      <p:sp>
        <p:nvSpPr>
          <p:cNvPr id="11" name="Content Placeholder 10">
            <a:extLst>
              <a:ext uri="{FF2B5EF4-FFF2-40B4-BE49-F238E27FC236}">
                <a16:creationId xmlns:a16="http://schemas.microsoft.com/office/drawing/2014/main" id="{3A309FE1-5BB4-A828-5924-92B8762A829C}"/>
              </a:ext>
            </a:extLst>
          </p:cNvPr>
          <p:cNvSpPr>
            <a:spLocks noGrp="1"/>
          </p:cNvSpPr>
          <p:nvPr>
            <p:ph sz="quarter" idx="13"/>
          </p:nvPr>
        </p:nvSpPr>
        <p:spPr>
          <a:xfrm>
            <a:off x="382589" y="1592263"/>
            <a:ext cx="5635445" cy="4502150"/>
          </a:xfrm>
          <a:custGeom>
            <a:avLst/>
            <a:gdLst>
              <a:gd name="connsiteX0" fmla="*/ 110258 w 5635445"/>
              <a:gd name="connsiteY0" fmla="*/ 0 h 4502150"/>
              <a:gd name="connsiteX1" fmla="*/ 5525187 w 5635445"/>
              <a:gd name="connsiteY1" fmla="*/ 0 h 4502150"/>
              <a:gd name="connsiteX2" fmla="*/ 5635445 w 5635445"/>
              <a:gd name="connsiteY2" fmla="*/ 110258 h 4502150"/>
              <a:gd name="connsiteX3" fmla="*/ 5635445 w 5635445"/>
              <a:gd name="connsiteY3" fmla="*/ 4391892 h 4502150"/>
              <a:gd name="connsiteX4" fmla="*/ 5525187 w 5635445"/>
              <a:gd name="connsiteY4" fmla="*/ 4502150 h 4502150"/>
              <a:gd name="connsiteX5" fmla="*/ 110258 w 5635445"/>
              <a:gd name="connsiteY5" fmla="*/ 4502150 h 4502150"/>
              <a:gd name="connsiteX6" fmla="*/ 0 w 5635445"/>
              <a:gd name="connsiteY6" fmla="*/ 4391892 h 4502150"/>
              <a:gd name="connsiteX7" fmla="*/ 0 w 5635445"/>
              <a:gd name="connsiteY7" fmla="*/ 110258 h 4502150"/>
              <a:gd name="connsiteX8" fmla="*/ 110258 w 563544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5445" h="4502150">
                <a:moveTo>
                  <a:pt x="110258" y="0"/>
                </a:moveTo>
                <a:lnTo>
                  <a:pt x="5525187" y="0"/>
                </a:lnTo>
                <a:cubicBezTo>
                  <a:pt x="5586081" y="0"/>
                  <a:pt x="5635445" y="49364"/>
                  <a:pt x="5635445" y="110258"/>
                </a:cubicBezTo>
                <a:lnTo>
                  <a:pt x="5635445" y="4391892"/>
                </a:lnTo>
                <a:cubicBezTo>
                  <a:pt x="5635445" y="4452786"/>
                  <a:pt x="5586081" y="4502150"/>
                  <a:pt x="5525187" y="4502150"/>
                </a:cubicBezTo>
                <a:lnTo>
                  <a:pt x="110258" y="4502150"/>
                </a:lnTo>
                <a:cubicBezTo>
                  <a:pt x="49364" y="4502150"/>
                  <a:pt x="0" y="4452786"/>
                  <a:pt x="0" y="4391892"/>
                </a:cubicBezTo>
                <a:lnTo>
                  <a:pt x="0" y="110258"/>
                </a:lnTo>
                <a:cubicBezTo>
                  <a:pt x="0" y="49364"/>
                  <a:pt x="49364" y="0"/>
                  <a:pt x="110258"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E5418A5E-DACA-97E1-6D53-DBAFA0B501BC}"/>
              </a:ext>
            </a:extLst>
          </p:cNvPr>
          <p:cNvSpPr>
            <a:spLocks noGrp="1"/>
          </p:cNvSpPr>
          <p:nvPr>
            <p:ph sz="quarter" idx="14"/>
          </p:nvPr>
        </p:nvSpPr>
        <p:spPr>
          <a:xfrm>
            <a:off x="6158093" y="1592263"/>
            <a:ext cx="5635445" cy="4502150"/>
          </a:xfrm>
          <a:custGeom>
            <a:avLst/>
            <a:gdLst>
              <a:gd name="connsiteX0" fmla="*/ 110258 w 5635445"/>
              <a:gd name="connsiteY0" fmla="*/ 0 h 4502150"/>
              <a:gd name="connsiteX1" fmla="*/ 5525187 w 5635445"/>
              <a:gd name="connsiteY1" fmla="*/ 0 h 4502150"/>
              <a:gd name="connsiteX2" fmla="*/ 5635445 w 5635445"/>
              <a:gd name="connsiteY2" fmla="*/ 110258 h 4502150"/>
              <a:gd name="connsiteX3" fmla="*/ 5635445 w 5635445"/>
              <a:gd name="connsiteY3" fmla="*/ 4391892 h 4502150"/>
              <a:gd name="connsiteX4" fmla="*/ 5525187 w 5635445"/>
              <a:gd name="connsiteY4" fmla="*/ 4502150 h 4502150"/>
              <a:gd name="connsiteX5" fmla="*/ 110258 w 5635445"/>
              <a:gd name="connsiteY5" fmla="*/ 4502150 h 4502150"/>
              <a:gd name="connsiteX6" fmla="*/ 0 w 5635445"/>
              <a:gd name="connsiteY6" fmla="*/ 4391892 h 4502150"/>
              <a:gd name="connsiteX7" fmla="*/ 0 w 5635445"/>
              <a:gd name="connsiteY7" fmla="*/ 110258 h 4502150"/>
              <a:gd name="connsiteX8" fmla="*/ 110258 w 563544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5445" h="4502150">
                <a:moveTo>
                  <a:pt x="110258" y="0"/>
                </a:moveTo>
                <a:lnTo>
                  <a:pt x="5525187" y="0"/>
                </a:lnTo>
                <a:cubicBezTo>
                  <a:pt x="5586081" y="0"/>
                  <a:pt x="5635445" y="49364"/>
                  <a:pt x="5635445" y="110258"/>
                </a:cubicBezTo>
                <a:lnTo>
                  <a:pt x="5635445" y="4391892"/>
                </a:lnTo>
                <a:cubicBezTo>
                  <a:pt x="5635445" y="4452786"/>
                  <a:pt x="5586081" y="4502150"/>
                  <a:pt x="5525187" y="4502150"/>
                </a:cubicBezTo>
                <a:lnTo>
                  <a:pt x="110258" y="4502150"/>
                </a:lnTo>
                <a:cubicBezTo>
                  <a:pt x="49364" y="4502150"/>
                  <a:pt x="0" y="4452786"/>
                  <a:pt x="0" y="4391892"/>
                </a:cubicBezTo>
                <a:lnTo>
                  <a:pt x="0" y="110258"/>
                </a:lnTo>
                <a:cubicBezTo>
                  <a:pt x="0" y="49364"/>
                  <a:pt x="49364" y="0"/>
                  <a:pt x="110258"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5755C8C2-4351-C268-D581-128090E73B87}"/>
              </a:ext>
            </a:extLst>
          </p:cNvPr>
          <p:cNvSpPr>
            <a:spLocks noGrp="1"/>
          </p:cNvSpPr>
          <p:nvPr>
            <p:ph type="body" sz="quarter" idx="15"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92218E3C-4823-4F89-A60E-2C0500200A2D}"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278794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3"/>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3"/>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4"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41" y="1402588"/>
            <a:ext cx="5109202"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2512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32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4"/>
            <a:ext cx="7290270"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37962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3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8"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6136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30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99248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2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65645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2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4"/>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030758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2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55220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6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2"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24650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2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7"/>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9"/>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109620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376623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57CF0-520E-43C1-08A5-497543FB3368}"/>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A55E9A31-B2E6-5F9C-91F2-15F1C8C88F6B}"/>
              </a:ext>
            </a:extLst>
          </p:cNvPr>
          <p:cNvSpPr>
            <a:spLocks noGrp="1"/>
          </p:cNvSpPr>
          <p:nvPr>
            <p:ph sz="quarter" idx="19"/>
          </p:nvPr>
        </p:nvSpPr>
        <p:spPr>
          <a:xfrm>
            <a:off x="382592"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C99D90AE-1D4A-8562-E607-F9C3BFB42E60}"/>
              </a:ext>
            </a:extLst>
          </p:cNvPr>
          <p:cNvSpPr>
            <a:spLocks noGrp="1"/>
          </p:cNvSpPr>
          <p:nvPr>
            <p:ph sz="quarter" idx="20"/>
          </p:nvPr>
        </p:nvSpPr>
        <p:spPr>
          <a:xfrm>
            <a:off x="4232928"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402B3065-0365-F69D-6FF8-D32E0BF69D56}"/>
              </a:ext>
            </a:extLst>
          </p:cNvPr>
          <p:cNvSpPr>
            <a:spLocks noGrp="1"/>
          </p:cNvSpPr>
          <p:nvPr>
            <p:ph sz="quarter" idx="21"/>
          </p:nvPr>
        </p:nvSpPr>
        <p:spPr>
          <a:xfrm>
            <a:off x="8083263"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006A4D"/>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F02679CB-E303-219C-E924-B0C87EA03969}"/>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17024DF-11DA-4BB2-85CC-3FB4D8D48A0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12274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23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4"/>
            <a:ext cx="7290270"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19952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2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8"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04969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2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3147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2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72017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1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4"/>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5357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1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2641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1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2"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8529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1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7"/>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9"/>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218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1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1000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7" y="45744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2" y="243007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2" y="309465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2" y="375923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2" y="442380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2" y="508838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2" y="576026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39316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FB362-E4E4-D0AC-0A44-066F3A5EB55E}"/>
              </a:ext>
            </a:extLst>
          </p:cNvPr>
          <p:cNvSpPr>
            <a:spLocks noGrp="1"/>
          </p:cNvSpPr>
          <p:nvPr>
            <p:ph type="title"/>
          </p:nvPr>
        </p:nvSpPr>
        <p:spPr/>
        <p:txBody>
          <a:bodyPr/>
          <a:lstStyle/>
          <a:p>
            <a:r>
              <a:rPr lang="en-US"/>
              <a:t>Click to edit Master title style</a:t>
            </a:r>
            <a:endParaRPr lang="en-GB"/>
          </a:p>
        </p:txBody>
      </p:sp>
      <p:sp>
        <p:nvSpPr>
          <p:cNvPr id="12" name="Content Placeholder 11">
            <a:extLst>
              <a:ext uri="{FF2B5EF4-FFF2-40B4-BE49-F238E27FC236}">
                <a16:creationId xmlns:a16="http://schemas.microsoft.com/office/drawing/2014/main" id="{D9CBFC8F-3608-9F37-6960-603A4126E064}"/>
              </a:ext>
            </a:extLst>
          </p:cNvPr>
          <p:cNvSpPr>
            <a:spLocks noGrp="1"/>
          </p:cNvSpPr>
          <p:nvPr>
            <p:ph sz="quarter" idx="22"/>
          </p:nvPr>
        </p:nvSpPr>
        <p:spPr>
          <a:xfrm>
            <a:off x="382593"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bg2"/>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23C9F5DA-8F25-242C-759E-CE6A54DEEB34}"/>
              </a:ext>
            </a:extLst>
          </p:cNvPr>
          <p:cNvSpPr>
            <a:spLocks noGrp="1"/>
          </p:cNvSpPr>
          <p:nvPr>
            <p:ph sz="quarter" idx="23"/>
          </p:nvPr>
        </p:nvSpPr>
        <p:spPr>
          <a:xfrm>
            <a:off x="4232928"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bg2"/>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17">
            <a:extLst>
              <a:ext uri="{FF2B5EF4-FFF2-40B4-BE49-F238E27FC236}">
                <a16:creationId xmlns:a16="http://schemas.microsoft.com/office/drawing/2014/main" id="{3582097A-C9A1-A2F9-8A26-7322768BB7BD}"/>
              </a:ext>
            </a:extLst>
          </p:cNvPr>
          <p:cNvSpPr>
            <a:spLocks noGrp="1"/>
          </p:cNvSpPr>
          <p:nvPr>
            <p:ph type="pic" sz="quarter" idx="24"/>
          </p:nvPr>
        </p:nvSpPr>
        <p:spPr>
          <a:xfrm>
            <a:off x="8083264"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p:spPr>
        <p:txBody>
          <a:bodyPr wrap="square">
            <a:noAutofit/>
          </a:bodyPr>
          <a:lstStyle/>
          <a:p>
            <a:r>
              <a:rPr lang="en-US"/>
              <a:t>Click icon to add picture</a:t>
            </a:r>
            <a:endParaRPr lang="en-GB"/>
          </a:p>
        </p:txBody>
      </p:sp>
      <p:sp>
        <p:nvSpPr>
          <p:cNvPr id="7" name="Text Placeholder 9">
            <a:extLst>
              <a:ext uri="{FF2B5EF4-FFF2-40B4-BE49-F238E27FC236}">
                <a16:creationId xmlns:a16="http://schemas.microsoft.com/office/drawing/2014/main" id="{3AF1DDF9-AA7E-23A7-F60E-7B4638E17756}"/>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415627B2-6A22-434C-AF60-F2A3480C9CC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239517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13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6"/>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4"/>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9"/>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7"/>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399776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1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90"/>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6"/>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4"/>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9"/>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7"/>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375077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1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324777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1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58492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0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1"/>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5"/>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7"/>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7"/>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8"/>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37052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0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6"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6"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6"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16456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0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6"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6"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6"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10016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0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12836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7_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1"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white right half">
            <a:extLst>
              <a:ext uri="{FF2B5EF4-FFF2-40B4-BE49-F238E27FC236}">
                <a16:creationId xmlns:a16="http://schemas.microsoft.com/office/drawing/2014/main" id="{747CFB75-7D71-23BC-3385-9E2DF23DDCC2}"/>
              </a:ext>
            </a:extLst>
          </p:cNvPr>
          <p:cNvSpPr/>
          <p:nvPr/>
        </p:nvSpPr>
        <p:spPr>
          <a:xfrm>
            <a:off x="8131576" y="1534100"/>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8"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966337"/>
            <a:ext cx="3130546"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5"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3" y="2661046"/>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7" y="1840380"/>
            <a:ext cx="3096046"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4" y="1840380"/>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3" y="2975539"/>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3" y="3677617"/>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3" y="3992109"/>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3" y="4694187"/>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3" y="5008680"/>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3" y="5710758"/>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3" y="6025250"/>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75971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6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4"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white right half">
            <a:extLst>
              <a:ext uri="{FF2B5EF4-FFF2-40B4-BE49-F238E27FC236}">
                <a16:creationId xmlns:a16="http://schemas.microsoft.com/office/drawing/2014/main" id="{747CFB75-7D71-23BC-3385-9E2DF23DDCC2}"/>
              </a:ext>
            </a:extLst>
          </p:cNvPr>
          <p:cNvSpPr/>
          <p:nvPr/>
        </p:nvSpPr>
        <p:spPr>
          <a:xfrm>
            <a:off x="2"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8"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5"/>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1"/>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3"/>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5"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3"/>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3"/>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11"/>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8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7" y="5498846"/>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7" y="6283416"/>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4"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9" y="1678654"/>
            <a:ext cx="3150226"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5990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7C113-E68F-400A-55BD-FC493A33A46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59D62929-8CDE-E6CB-746A-C577DD1A95A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5FEC1169-6782-F2B2-2971-D7A51AB985B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B4C0E010-CF7E-C841-C5D8-EF98091BF2CA}"/>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6" name="Footer Placeholder 5">
            <a:extLst>
              <a:ext uri="{FF2B5EF4-FFF2-40B4-BE49-F238E27FC236}">
                <a16:creationId xmlns:a16="http://schemas.microsoft.com/office/drawing/2014/main" id="{A4F7F12E-4571-B969-D664-CB7AAE3C4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97E6068-3450-8985-BE05-0CEA468B5B69}"/>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33059884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2CC97-FFCF-E456-5986-81098A8214CE}"/>
              </a:ext>
            </a:extLst>
          </p:cNvPr>
          <p:cNvSpPr>
            <a:spLocks noGrp="1"/>
          </p:cNvSpPr>
          <p:nvPr>
            <p:ph type="title"/>
          </p:nvPr>
        </p:nvSpPr>
        <p:spPr/>
        <p:txBody>
          <a:bodyPr/>
          <a:lstStyle/>
          <a:p>
            <a:r>
              <a:rPr lang="en-US"/>
              <a:t>Click to edit Master title style</a:t>
            </a:r>
            <a:endParaRPr lang="en-GB"/>
          </a:p>
        </p:txBody>
      </p:sp>
      <p:sp>
        <p:nvSpPr>
          <p:cNvPr id="12" name="Content Placeholder 11">
            <a:extLst>
              <a:ext uri="{FF2B5EF4-FFF2-40B4-BE49-F238E27FC236}">
                <a16:creationId xmlns:a16="http://schemas.microsoft.com/office/drawing/2014/main" id="{5E81FF7F-0A2B-1486-6D45-81033AF41F50}"/>
              </a:ext>
            </a:extLst>
          </p:cNvPr>
          <p:cNvSpPr>
            <a:spLocks noGrp="1"/>
          </p:cNvSpPr>
          <p:nvPr>
            <p:ph sz="quarter" idx="20"/>
          </p:nvPr>
        </p:nvSpPr>
        <p:spPr>
          <a:xfrm>
            <a:off x="382593"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DF053258-B8E6-7EE5-8FAC-41F30E0CC719}"/>
              </a:ext>
            </a:extLst>
          </p:cNvPr>
          <p:cNvSpPr>
            <a:spLocks noGrp="1"/>
          </p:cNvSpPr>
          <p:nvPr>
            <p:ph sz="quarter" idx="21"/>
          </p:nvPr>
        </p:nvSpPr>
        <p:spPr>
          <a:xfrm>
            <a:off x="3271842"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a:extLst>
              <a:ext uri="{FF2B5EF4-FFF2-40B4-BE49-F238E27FC236}">
                <a16:creationId xmlns:a16="http://schemas.microsoft.com/office/drawing/2014/main" id="{D65B09D0-D124-DE35-C307-BD4E2913CDC3}"/>
              </a:ext>
            </a:extLst>
          </p:cNvPr>
          <p:cNvSpPr>
            <a:spLocks noGrp="1"/>
          </p:cNvSpPr>
          <p:nvPr>
            <p:ph sz="quarter" idx="22"/>
          </p:nvPr>
        </p:nvSpPr>
        <p:spPr>
          <a:xfrm>
            <a:off x="6161091"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006A4D"/>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4">
            <a:extLst>
              <a:ext uri="{FF2B5EF4-FFF2-40B4-BE49-F238E27FC236}">
                <a16:creationId xmlns:a16="http://schemas.microsoft.com/office/drawing/2014/main" id="{223AF841-A153-030C-9436-530B142257A9}"/>
              </a:ext>
            </a:extLst>
          </p:cNvPr>
          <p:cNvSpPr>
            <a:spLocks noGrp="1"/>
          </p:cNvSpPr>
          <p:nvPr>
            <p:ph sz="quarter" idx="23"/>
          </p:nvPr>
        </p:nvSpPr>
        <p:spPr>
          <a:xfrm>
            <a:off x="9050341"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chemeClr val="tx2"/>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2EA3000F-FCB8-2364-438D-CB565BC9B82B}"/>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700B129C-985F-41F9-877C-709D8D9E90F7}"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153851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3_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1"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8" y="1534485"/>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300" y="2854001"/>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7" y="2504847"/>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7" y="4769027"/>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6"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6" y="2458640"/>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300" y="4491846"/>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6" y="4122118"/>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300" y="5993796"/>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6" y="5600766"/>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70"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70"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1"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1" y="1681775"/>
            <a:ext cx="5206034"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3" y="1680491"/>
            <a:ext cx="5351002" cy="415870"/>
          </a:xfrm>
          <a:prstGeom prst="rect">
            <a:avLst/>
          </a:prstGeom>
        </p:spPr>
        <p:txBody>
          <a:bodyPr lIns="0" anchor="ctr"/>
          <a:lstStyle>
            <a:lvl1pPr algn="ctr">
              <a:defRPr lang="en-GB" sz="1214"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269139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6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3196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5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13622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8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white right half">
            <a:extLst>
              <a:ext uri="{FF2B5EF4-FFF2-40B4-BE49-F238E27FC236}">
                <a16:creationId xmlns:a16="http://schemas.microsoft.com/office/drawing/2014/main" id="{747CFB75-7D71-23BC-3385-9E2DF23DDCC2}"/>
              </a:ext>
            </a:extLst>
          </p:cNvPr>
          <p:cNvSpPr/>
          <p:nvPr/>
        </p:nvSpPr>
        <p:spPr>
          <a:xfrm>
            <a:off x="0"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4"/>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0"/>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2"/>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4"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1"/>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09"/>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79"/>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6" y="5498844"/>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6" y="6283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8" y="1678654"/>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361940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4_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311939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3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341232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35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067" y="1704"/>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7" y="1704"/>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70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34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0194088"/>
              </p:ext>
            </p:extLst>
          </p:nvPr>
        </p:nvGraphicFramePr>
        <p:xfrm>
          <a:off x="2067" y="1704"/>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7" y="1704"/>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81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33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602523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4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8"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6"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55"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32"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09"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7245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ighlighted Text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71714F3-124A-0368-601A-816B286A13DD}"/>
              </a:ext>
            </a:extLst>
          </p:cNvPr>
          <p:cNvSpPr>
            <a:spLocks noGrp="1"/>
          </p:cNvSpPr>
          <p:nvPr>
            <p:ph type="title"/>
          </p:nvPr>
        </p:nvSpPr>
        <p:spPr/>
        <p:txBody>
          <a:bodyPr/>
          <a:lstStyle/>
          <a:p>
            <a:r>
              <a:rPr lang="en-US"/>
              <a:t>Click to edit Master title style</a:t>
            </a:r>
            <a:endParaRPr lang="en-GB"/>
          </a:p>
        </p:txBody>
      </p:sp>
      <p:sp>
        <p:nvSpPr>
          <p:cNvPr id="2" name="Text Placeholder 1">
            <a:extLst>
              <a:ext uri="{FF2B5EF4-FFF2-40B4-BE49-F238E27FC236}">
                <a16:creationId xmlns:a16="http://schemas.microsoft.com/office/drawing/2014/main" id="{E867829D-94CE-C8CF-9064-16C18AB1884E}"/>
              </a:ext>
            </a:extLst>
          </p:cNvPr>
          <p:cNvSpPr>
            <a:spLocks noGrp="1"/>
          </p:cNvSpPr>
          <p:nvPr>
            <p:ph type="body" sz="quarter" idx="16"/>
          </p:nvPr>
        </p:nvSpPr>
        <p:spPr>
          <a:xfrm>
            <a:off x="382592" y="1590675"/>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chemeClr val="bg2"/>
          </a:solidFill>
        </p:spPr>
        <p:txBody>
          <a:bodyPr wrap="square" lIns="216000" tIns="180000" rIns="180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1">
            <a:extLst>
              <a:ext uri="{FF2B5EF4-FFF2-40B4-BE49-F238E27FC236}">
                <a16:creationId xmlns:a16="http://schemas.microsoft.com/office/drawing/2014/main" id="{CC6E2891-D272-59C9-A316-72DCD8E4F17B}"/>
              </a:ext>
            </a:extLst>
          </p:cNvPr>
          <p:cNvSpPr>
            <a:spLocks noGrp="1"/>
          </p:cNvSpPr>
          <p:nvPr>
            <p:ph sz="quarter" idx="22"/>
          </p:nvPr>
        </p:nvSpPr>
        <p:spPr>
          <a:xfrm>
            <a:off x="3271841" y="1590675"/>
            <a:ext cx="8521696" cy="4502150"/>
          </a:xfrm>
          <a:custGeom>
            <a:avLst/>
            <a:gdLst>
              <a:gd name="connsiteX0" fmla="*/ 114309 w 8521696"/>
              <a:gd name="connsiteY0" fmla="*/ 0 h 4502150"/>
              <a:gd name="connsiteX1" fmla="*/ 2035707 w 8521696"/>
              <a:gd name="connsiteY1" fmla="*/ 0 h 4502150"/>
              <a:gd name="connsiteX2" fmla="*/ 2628888 w 8521696"/>
              <a:gd name="connsiteY2" fmla="*/ 0 h 4502150"/>
              <a:gd name="connsiteX3" fmla="*/ 3003559 w 8521696"/>
              <a:gd name="connsiteY3" fmla="*/ 0 h 4502150"/>
              <a:gd name="connsiteX4" fmla="*/ 3355221 w 8521696"/>
              <a:gd name="connsiteY4" fmla="*/ 0 h 4502150"/>
              <a:gd name="connsiteX5" fmla="*/ 4550286 w 8521696"/>
              <a:gd name="connsiteY5" fmla="*/ 0 h 4502150"/>
              <a:gd name="connsiteX6" fmla="*/ 5518138 w 8521696"/>
              <a:gd name="connsiteY6" fmla="*/ 0 h 4502150"/>
              <a:gd name="connsiteX7" fmla="*/ 5869800 w 8521696"/>
              <a:gd name="connsiteY7" fmla="*/ 0 h 4502150"/>
              <a:gd name="connsiteX8" fmla="*/ 5881304 w 8521696"/>
              <a:gd name="connsiteY8" fmla="*/ 2323 h 4502150"/>
              <a:gd name="connsiteX9" fmla="*/ 5892808 w 8521696"/>
              <a:gd name="connsiteY9" fmla="*/ 0 h 4502150"/>
              <a:gd name="connsiteX10" fmla="*/ 8407387 w 8521696"/>
              <a:gd name="connsiteY10" fmla="*/ 0 h 4502150"/>
              <a:gd name="connsiteX11" fmla="*/ 8521696 w 8521696"/>
              <a:gd name="connsiteY11" fmla="*/ 114309 h 4502150"/>
              <a:gd name="connsiteX12" fmla="*/ 8521696 w 8521696"/>
              <a:gd name="connsiteY12" fmla="*/ 4387841 h 4502150"/>
              <a:gd name="connsiteX13" fmla="*/ 8407387 w 8521696"/>
              <a:gd name="connsiteY13" fmla="*/ 4502150 h 4502150"/>
              <a:gd name="connsiteX14" fmla="*/ 5892808 w 8521696"/>
              <a:gd name="connsiteY14" fmla="*/ 4502150 h 4502150"/>
              <a:gd name="connsiteX15" fmla="*/ 5881304 w 8521696"/>
              <a:gd name="connsiteY15" fmla="*/ 4499828 h 4502150"/>
              <a:gd name="connsiteX16" fmla="*/ 5869800 w 8521696"/>
              <a:gd name="connsiteY16" fmla="*/ 4502150 h 4502150"/>
              <a:gd name="connsiteX17" fmla="*/ 5518138 w 8521696"/>
              <a:gd name="connsiteY17" fmla="*/ 4502150 h 4502150"/>
              <a:gd name="connsiteX18" fmla="*/ 4550286 w 8521696"/>
              <a:gd name="connsiteY18" fmla="*/ 4502150 h 4502150"/>
              <a:gd name="connsiteX19" fmla="*/ 3355221 w 8521696"/>
              <a:gd name="connsiteY19" fmla="*/ 4502150 h 4502150"/>
              <a:gd name="connsiteX20" fmla="*/ 3003559 w 8521696"/>
              <a:gd name="connsiteY20" fmla="*/ 4502150 h 4502150"/>
              <a:gd name="connsiteX21" fmla="*/ 2628888 w 8521696"/>
              <a:gd name="connsiteY21" fmla="*/ 4502150 h 4502150"/>
              <a:gd name="connsiteX22" fmla="*/ 2035707 w 8521696"/>
              <a:gd name="connsiteY22" fmla="*/ 4502150 h 4502150"/>
              <a:gd name="connsiteX23" fmla="*/ 114309 w 8521696"/>
              <a:gd name="connsiteY23" fmla="*/ 4502150 h 4502150"/>
              <a:gd name="connsiteX24" fmla="*/ 0 w 8521696"/>
              <a:gd name="connsiteY24" fmla="*/ 4387841 h 4502150"/>
              <a:gd name="connsiteX25" fmla="*/ 0 w 8521696"/>
              <a:gd name="connsiteY25" fmla="*/ 114309 h 4502150"/>
              <a:gd name="connsiteX26" fmla="*/ 114309 w 8521696"/>
              <a:gd name="connsiteY26"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521696" h="4502150">
                <a:moveTo>
                  <a:pt x="114309" y="0"/>
                </a:moveTo>
                <a:lnTo>
                  <a:pt x="2035707" y="0"/>
                </a:lnTo>
                <a:lnTo>
                  <a:pt x="2628888" y="0"/>
                </a:lnTo>
                <a:lnTo>
                  <a:pt x="3003559" y="0"/>
                </a:lnTo>
                <a:lnTo>
                  <a:pt x="3355221" y="0"/>
                </a:lnTo>
                <a:lnTo>
                  <a:pt x="4550286" y="0"/>
                </a:lnTo>
                <a:lnTo>
                  <a:pt x="5518138" y="0"/>
                </a:lnTo>
                <a:lnTo>
                  <a:pt x="5869800" y="0"/>
                </a:lnTo>
                <a:lnTo>
                  <a:pt x="5881304" y="2323"/>
                </a:lnTo>
                <a:lnTo>
                  <a:pt x="5892808" y="0"/>
                </a:lnTo>
                <a:lnTo>
                  <a:pt x="8407387" y="0"/>
                </a:lnTo>
                <a:cubicBezTo>
                  <a:pt x="8470518" y="0"/>
                  <a:pt x="8521696" y="51178"/>
                  <a:pt x="8521696" y="114309"/>
                </a:cubicBezTo>
                <a:lnTo>
                  <a:pt x="8521696" y="4387841"/>
                </a:lnTo>
                <a:cubicBezTo>
                  <a:pt x="8521696" y="4450972"/>
                  <a:pt x="8470518" y="4502150"/>
                  <a:pt x="8407387" y="4502150"/>
                </a:cubicBezTo>
                <a:lnTo>
                  <a:pt x="5892808" y="4502150"/>
                </a:lnTo>
                <a:lnTo>
                  <a:pt x="5881304" y="4499828"/>
                </a:lnTo>
                <a:lnTo>
                  <a:pt x="5869800" y="4502150"/>
                </a:lnTo>
                <a:lnTo>
                  <a:pt x="5518138" y="4502150"/>
                </a:lnTo>
                <a:lnTo>
                  <a:pt x="4550286" y="4502150"/>
                </a:lnTo>
                <a:lnTo>
                  <a:pt x="3355221" y="4502150"/>
                </a:lnTo>
                <a:lnTo>
                  <a:pt x="3003559" y="4502150"/>
                </a:lnTo>
                <a:lnTo>
                  <a:pt x="2628888" y="4502150"/>
                </a:lnTo>
                <a:lnTo>
                  <a:pt x="2035707" y="4502150"/>
                </a:lnTo>
                <a:lnTo>
                  <a:pt x="114309" y="4502150"/>
                </a:lnTo>
                <a:cubicBezTo>
                  <a:pt x="51178" y="4502150"/>
                  <a:pt x="0" y="4450972"/>
                  <a:pt x="0" y="4387841"/>
                </a:cubicBezTo>
                <a:lnTo>
                  <a:pt x="0" y="114309"/>
                </a:lnTo>
                <a:cubicBezTo>
                  <a:pt x="0" y="51178"/>
                  <a:pt x="51178" y="0"/>
                  <a:pt x="114309" y="0"/>
                </a:cubicBez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23E02E5D-D374-415E-8CD9-A575564569E5}"/>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1098E4F-09D5-4B38-A7E5-0C179C46936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406963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6" y="2457059"/>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5"/>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1"/>
            <a:ext cx="5307105" cy="5147351"/>
          </a:xfrm>
          <a:prstGeom prst="rect">
            <a:avLst/>
          </a:prstGeom>
        </p:spPr>
        <p:txBody>
          <a:bodyPr/>
          <a:lstStyle/>
          <a:p>
            <a:endParaRPr lang="en-GB"/>
          </a:p>
        </p:txBody>
      </p:sp>
    </p:spTree>
    <p:extLst>
      <p:ext uri="{BB962C8B-B14F-4D97-AF65-F5344CB8AC3E}">
        <p14:creationId xmlns:p14="http://schemas.microsoft.com/office/powerpoint/2010/main" val="302393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1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6676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50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279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9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28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8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6"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3313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938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4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7630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8553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2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4413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1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2968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with Image">
    <p:bg>
      <p:bgPr>
        <a:solidFill>
          <a:srgbClr val="11B67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91A8126-78BF-15C2-9CC7-E2FBE2E57CDE}"/>
              </a:ext>
            </a:extLst>
          </p:cNvPr>
          <p:cNvSpPr>
            <a:spLocks noGrp="1"/>
          </p:cNvSpPr>
          <p:nvPr>
            <p:ph type="pic" sz="quarter" idx="13"/>
          </p:nvPr>
        </p:nvSpPr>
        <p:spPr>
          <a:xfrm>
            <a:off x="0" y="0"/>
            <a:ext cx="6096000" cy="6858000"/>
          </a:xfrm>
          <a:solidFill>
            <a:schemeClr val="bg1"/>
          </a:solidFill>
        </p:spPr>
        <p:txBody>
          <a:bodyPr/>
          <a:lstStyle/>
          <a:p>
            <a:r>
              <a:rPr lang="en-US"/>
              <a:t>Click icon to add picture</a:t>
            </a:r>
            <a:endParaRPr lang="en-GB"/>
          </a:p>
        </p:txBody>
      </p:sp>
      <p:sp>
        <p:nvSpPr>
          <p:cNvPr id="10" name="Text Placeholder 9">
            <a:extLst>
              <a:ext uri="{FF2B5EF4-FFF2-40B4-BE49-F238E27FC236}">
                <a16:creationId xmlns:a16="http://schemas.microsoft.com/office/drawing/2014/main" id="{72E170A1-919C-1ED6-426B-6A5C19384073}"/>
              </a:ext>
            </a:extLst>
          </p:cNvPr>
          <p:cNvSpPr>
            <a:spLocks noGrp="1"/>
          </p:cNvSpPr>
          <p:nvPr>
            <p:ph type="body" sz="quarter" idx="14"/>
          </p:nvPr>
        </p:nvSpPr>
        <p:spPr>
          <a:xfrm>
            <a:off x="6645275" y="1774824"/>
            <a:ext cx="5148263" cy="4219575"/>
          </a:xfrm>
        </p:spPr>
        <p:txBody>
          <a:bodyPr/>
          <a:lstStyle>
            <a:lvl1pPr>
              <a:lnSpc>
                <a:spcPct val="95000"/>
              </a:lnSpc>
              <a:defRPr sz="2400">
                <a:solidFill>
                  <a:schemeClr val="tx1"/>
                </a:solidFill>
              </a:defRPr>
            </a:lvl1pPr>
            <a:lvl2pPr>
              <a:spcBef>
                <a:spcPts val="1800"/>
              </a:spcBef>
              <a:defRPr sz="1600" b="1" i="0">
                <a:solidFill>
                  <a:schemeClr val="tx1"/>
                </a:solidFill>
              </a:defRPr>
            </a:lvl2pPr>
            <a:lvl3pPr marL="0" indent="0">
              <a:buNone/>
              <a:defRPr sz="1200">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Text Placeholder 9">
            <a:extLst>
              <a:ext uri="{FF2B5EF4-FFF2-40B4-BE49-F238E27FC236}">
                <a16:creationId xmlns:a16="http://schemas.microsoft.com/office/drawing/2014/main" id="{E665900D-2933-1A3B-B4E5-B10607952514}"/>
              </a:ext>
            </a:extLst>
          </p:cNvPr>
          <p:cNvSpPr>
            <a:spLocks noGrp="1"/>
          </p:cNvSpPr>
          <p:nvPr>
            <p:ph type="body" sz="quarter" idx="15" hasCustomPrompt="1"/>
          </p:nvPr>
        </p:nvSpPr>
        <p:spPr>
          <a:xfrm>
            <a:off x="6645272" y="6135468"/>
            <a:ext cx="5148263"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86728D2-7B5E-11CF-7872-C41A8A433586}"/>
              </a:ext>
            </a:extLst>
          </p:cNvPr>
          <p:cNvSpPr>
            <a:spLocks noGrp="1"/>
          </p:cNvSpPr>
          <p:nvPr>
            <p:ph type="dt" sz="half" idx="12"/>
          </p:nvPr>
        </p:nvSpPr>
        <p:spPr/>
        <p:txBody>
          <a:bodyPr/>
          <a:lstStyle>
            <a:lvl1pPr>
              <a:defRPr>
                <a:solidFill>
                  <a:schemeClr val="bg1"/>
                </a:solidFill>
              </a:defRPr>
            </a:lvl1pPr>
          </a:lstStyle>
          <a:p>
            <a:fld id="{7AF2EC71-44F6-4B77-B563-02DEC0B04E17}" type="datetime3">
              <a:rPr lang="en-GB" smtClean="0"/>
              <a:t>5 December, 2025</a:t>
            </a:fld>
            <a:endParaRPr lang="en-GB"/>
          </a:p>
        </p:txBody>
      </p:sp>
      <p:sp>
        <p:nvSpPr>
          <p:cNvPr id="3" name="Footer Placeholder 2">
            <a:extLst>
              <a:ext uri="{FF2B5EF4-FFF2-40B4-BE49-F238E27FC236}">
                <a16:creationId xmlns:a16="http://schemas.microsoft.com/office/drawing/2014/main" id="{D6736C6A-0E0A-35C5-D86E-3260AE49F60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182E518-D9F5-9E5B-732D-7FA281E294D6}"/>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104318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6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5"/>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8"/>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0"/>
            <a:ext cx="4898365" cy="386260"/>
          </a:xfrm>
          <a:prstGeom prst="rect">
            <a:avLst/>
          </a:prstGeom>
        </p:spPr>
        <p:txBody>
          <a:bodyPr>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6696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3"/>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0"/>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3"/>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4459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7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3405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70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7879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6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9839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6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2624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6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5148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6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9883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6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324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6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4108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ote with Graphic">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DC8C46-78EE-78B9-C1FD-850A29E6CCD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24139" t="20420" r="37320" b="4519"/>
          <a:stretch/>
        </p:blipFill>
        <p:spPr>
          <a:xfrm flipH="1" flipV="1">
            <a:off x="6096000" y="0"/>
            <a:ext cx="6096000" cy="6857998"/>
          </a:xfrm>
          <a:prstGeom prst="rect">
            <a:avLst/>
          </a:prstGeom>
        </p:spPr>
      </p:pic>
      <p:sp>
        <p:nvSpPr>
          <p:cNvPr id="10" name="Text Placeholder 9">
            <a:extLst>
              <a:ext uri="{FF2B5EF4-FFF2-40B4-BE49-F238E27FC236}">
                <a16:creationId xmlns:a16="http://schemas.microsoft.com/office/drawing/2014/main" id="{72E170A1-919C-1ED6-426B-6A5C19384073}"/>
              </a:ext>
            </a:extLst>
          </p:cNvPr>
          <p:cNvSpPr>
            <a:spLocks noGrp="1"/>
          </p:cNvSpPr>
          <p:nvPr>
            <p:ph type="body" sz="quarter" idx="14"/>
          </p:nvPr>
        </p:nvSpPr>
        <p:spPr>
          <a:xfrm>
            <a:off x="489108" y="1502727"/>
            <a:ext cx="5148263" cy="4219575"/>
          </a:xfrm>
        </p:spPr>
        <p:txBody>
          <a:bodyPr/>
          <a:lstStyle>
            <a:lvl1pPr>
              <a:lnSpc>
                <a:spcPct val="95000"/>
              </a:lnSpc>
              <a:defRPr sz="2400">
                <a:solidFill>
                  <a:schemeClr val="tx1"/>
                </a:solidFill>
              </a:defRPr>
            </a:lvl1pPr>
            <a:lvl2pPr>
              <a:spcBef>
                <a:spcPts val="1800"/>
              </a:spcBef>
              <a:defRPr sz="1600" b="1" i="0">
                <a:solidFill>
                  <a:schemeClr val="tx1"/>
                </a:solidFill>
              </a:defRPr>
            </a:lvl2pPr>
            <a:lvl3pPr marL="0" indent="0">
              <a:buNone/>
              <a:defRPr sz="1200">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Text Placeholder 9">
            <a:extLst>
              <a:ext uri="{FF2B5EF4-FFF2-40B4-BE49-F238E27FC236}">
                <a16:creationId xmlns:a16="http://schemas.microsoft.com/office/drawing/2014/main" id="{5A7562EC-918E-EFF9-31DE-6468899B503B}"/>
              </a:ext>
            </a:extLst>
          </p:cNvPr>
          <p:cNvSpPr>
            <a:spLocks noGrp="1"/>
          </p:cNvSpPr>
          <p:nvPr>
            <p:ph type="body" sz="quarter" idx="15" hasCustomPrompt="1"/>
          </p:nvPr>
        </p:nvSpPr>
        <p:spPr>
          <a:xfrm>
            <a:off x="382586" y="6135468"/>
            <a:ext cx="5254785"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86728D2-7B5E-11CF-7872-C41A8A433586}"/>
              </a:ext>
            </a:extLst>
          </p:cNvPr>
          <p:cNvSpPr>
            <a:spLocks noGrp="1"/>
          </p:cNvSpPr>
          <p:nvPr>
            <p:ph type="dt" sz="half" idx="12"/>
          </p:nvPr>
        </p:nvSpPr>
        <p:spPr/>
        <p:txBody>
          <a:bodyPr/>
          <a:lstStyle/>
          <a:p>
            <a:fld id="{5C2E20A6-D279-487E-B6BA-8D3D5A5C6646}" type="datetime3">
              <a:rPr lang="en-GB" smtClean="0"/>
              <a:t>5 December, 2025</a:t>
            </a:fld>
            <a:endParaRPr lang="en-GB"/>
          </a:p>
        </p:txBody>
      </p:sp>
      <p:sp>
        <p:nvSpPr>
          <p:cNvPr id="3" name="Footer Placeholder 2">
            <a:extLst>
              <a:ext uri="{FF2B5EF4-FFF2-40B4-BE49-F238E27FC236}">
                <a16:creationId xmlns:a16="http://schemas.microsoft.com/office/drawing/2014/main" id="{D6736C6A-0E0A-35C5-D86E-3260AE49F60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182E518-D9F5-9E5B-732D-7FA281E294D6}"/>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66463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6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65323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59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0439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5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48093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5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76155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5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9290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5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239465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5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864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5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10599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5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3816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5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01670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59939A4-CBAD-3014-493A-DEA795D37320}"/>
              </a:ext>
            </a:extLst>
          </p:cNvPr>
          <p:cNvSpPr>
            <a:spLocks noGrp="1"/>
          </p:cNvSpPr>
          <p:nvPr>
            <p:ph type="pic" sz="quarter" idx="13"/>
          </p:nvPr>
        </p:nvSpPr>
        <p:spPr>
          <a:xfrm>
            <a:off x="0" y="0"/>
            <a:ext cx="12192000" cy="2672557"/>
          </a:xfrm>
        </p:spPr>
        <p:txBody>
          <a:bodyPr/>
          <a:lstStyle/>
          <a:p>
            <a:r>
              <a:rPr lang="en-US"/>
              <a:t>Click icon to add picture</a:t>
            </a:r>
            <a:endParaRPr lang="en-GB"/>
          </a:p>
        </p:txBody>
      </p:sp>
      <p:sp>
        <p:nvSpPr>
          <p:cNvPr id="16" name="Text Placeholder 15">
            <a:extLst>
              <a:ext uri="{FF2B5EF4-FFF2-40B4-BE49-F238E27FC236}">
                <a16:creationId xmlns:a16="http://schemas.microsoft.com/office/drawing/2014/main" id="{2D508739-B06E-08EF-E5F0-E4E96E4FD38A}"/>
              </a:ext>
            </a:extLst>
          </p:cNvPr>
          <p:cNvSpPr>
            <a:spLocks noGrp="1"/>
          </p:cNvSpPr>
          <p:nvPr>
            <p:ph type="body" sz="quarter" idx="14"/>
          </p:nvPr>
        </p:nvSpPr>
        <p:spPr>
          <a:xfrm>
            <a:off x="382588" y="3142527"/>
            <a:ext cx="11410950" cy="2950298"/>
          </a:xfrm>
        </p:spPr>
        <p:txBody>
          <a:bodyPr anchor="ctr"/>
          <a:lstStyle>
            <a:lvl1pPr algn="ctr">
              <a:lnSpc>
                <a:spcPct val="90000"/>
              </a:lnSpc>
              <a:spcAft>
                <a:spcPts val="600"/>
              </a:spcAft>
              <a:defRPr sz="5400">
                <a:solidFill>
                  <a:schemeClr val="tx1"/>
                </a:solidFill>
              </a:defRPr>
            </a:lvl1pPr>
            <a:lvl2pPr algn="ctr">
              <a:defRPr sz="2400">
                <a:solidFill>
                  <a:schemeClr val="tx1"/>
                </a:solidFill>
              </a:defRPr>
            </a:lvl2pPr>
            <a:lvl3pPr marL="0" indent="0">
              <a:buNone/>
              <a:defRPr/>
            </a:lvl3pPr>
          </a:lstStyle>
          <a:p>
            <a:pPr lvl="0"/>
            <a:r>
              <a:rPr lang="en-US"/>
              <a:t>Click to edit Master text styles</a:t>
            </a:r>
          </a:p>
          <a:p>
            <a:pPr lvl="1"/>
            <a:r>
              <a:rPr lang="en-US"/>
              <a:t>Second level</a:t>
            </a:r>
          </a:p>
        </p:txBody>
      </p:sp>
      <p:sp>
        <p:nvSpPr>
          <p:cNvPr id="6" name="Text Placeholder 9">
            <a:extLst>
              <a:ext uri="{FF2B5EF4-FFF2-40B4-BE49-F238E27FC236}">
                <a16:creationId xmlns:a16="http://schemas.microsoft.com/office/drawing/2014/main" id="{E71A8715-80D0-471B-3625-626F9594F6C9}"/>
              </a:ext>
            </a:extLst>
          </p:cNvPr>
          <p:cNvSpPr>
            <a:spLocks noGrp="1"/>
          </p:cNvSpPr>
          <p:nvPr>
            <p:ph type="body" sz="quarter" idx="15"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9862227F-189B-731B-D249-97731B04F81A}"/>
              </a:ext>
            </a:extLst>
          </p:cNvPr>
          <p:cNvSpPr>
            <a:spLocks noGrp="1"/>
          </p:cNvSpPr>
          <p:nvPr>
            <p:ph type="dt" sz="half" idx="12"/>
          </p:nvPr>
        </p:nvSpPr>
        <p:spPr/>
        <p:txBody>
          <a:bodyPr/>
          <a:lstStyle/>
          <a:p>
            <a:fld id="{F5DC3E29-FC20-4DEC-A8BD-FE3435ABEA57}" type="datetime3">
              <a:rPr lang="en-GB" smtClean="0"/>
              <a:t>5 December, 2025</a:t>
            </a:fld>
            <a:endParaRPr lang="en-GB"/>
          </a:p>
        </p:txBody>
      </p:sp>
      <p:sp>
        <p:nvSpPr>
          <p:cNvPr id="3" name="Footer Placeholder 2">
            <a:extLst>
              <a:ext uri="{FF2B5EF4-FFF2-40B4-BE49-F238E27FC236}">
                <a16:creationId xmlns:a16="http://schemas.microsoft.com/office/drawing/2014/main" id="{13E88FD4-F5DD-A610-093E-03694871DD5E}"/>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DC8499C-4A44-CD9E-8887-D84ED74B6E44}"/>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7631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4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576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4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406657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4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336523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4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53914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45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63536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4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190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4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35392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4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6738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40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75620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36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88468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am Slid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47BD6-4A11-9F32-72F9-AE936CA9601E}"/>
              </a:ext>
            </a:extLst>
          </p:cNvPr>
          <p:cNvSpPr>
            <a:spLocks noGrp="1"/>
          </p:cNvSpPr>
          <p:nvPr>
            <p:ph type="title"/>
          </p:nvPr>
        </p:nvSpPr>
        <p:spPr/>
        <p:txBody>
          <a:bodyPr vert="horz"/>
          <a:lstStyle/>
          <a:p>
            <a:r>
              <a:rPr lang="en-US"/>
              <a:t>Click to edit Master title style</a:t>
            </a:r>
            <a:endParaRPr lang="en-GB"/>
          </a:p>
        </p:txBody>
      </p:sp>
      <p:sp>
        <p:nvSpPr>
          <p:cNvPr id="13" name="Picture Placeholder 37">
            <a:extLst>
              <a:ext uri="{FF2B5EF4-FFF2-40B4-BE49-F238E27FC236}">
                <a16:creationId xmlns:a16="http://schemas.microsoft.com/office/drawing/2014/main" id="{150D1E2A-826F-D064-34F1-0BCE767BAF69}"/>
              </a:ext>
            </a:extLst>
          </p:cNvPr>
          <p:cNvSpPr>
            <a:spLocks noGrp="1"/>
          </p:cNvSpPr>
          <p:nvPr>
            <p:ph type="pic" sz="quarter" idx="35"/>
          </p:nvPr>
        </p:nvSpPr>
        <p:spPr>
          <a:xfrm>
            <a:off x="382586" y="1592263"/>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2" name="Text Placeholder 21">
            <a:extLst>
              <a:ext uri="{FF2B5EF4-FFF2-40B4-BE49-F238E27FC236}">
                <a16:creationId xmlns:a16="http://schemas.microsoft.com/office/drawing/2014/main" id="{6A65733F-76D0-12BA-0735-F3BEB13050A9}"/>
              </a:ext>
            </a:extLst>
          </p:cNvPr>
          <p:cNvSpPr>
            <a:spLocks noGrp="1"/>
          </p:cNvSpPr>
          <p:nvPr>
            <p:ph type="body" sz="quarter" idx="40"/>
          </p:nvPr>
        </p:nvSpPr>
        <p:spPr>
          <a:xfrm>
            <a:off x="2453364" y="1592263"/>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32">
            <a:extLst>
              <a:ext uri="{FF2B5EF4-FFF2-40B4-BE49-F238E27FC236}">
                <a16:creationId xmlns:a16="http://schemas.microsoft.com/office/drawing/2014/main" id="{52808A5B-AD54-4EA5-6C44-777412FD7C5E}"/>
              </a:ext>
            </a:extLst>
          </p:cNvPr>
          <p:cNvSpPr>
            <a:spLocks noGrp="1"/>
          </p:cNvSpPr>
          <p:nvPr>
            <p:ph type="pic" sz="quarter" idx="32"/>
          </p:nvPr>
        </p:nvSpPr>
        <p:spPr>
          <a:xfrm>
            <a:off x="6180139" y="1592263"/>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4" name="Text Placeholder 23">
            <a:extLst>
              <a:ext uri="{FF2B5EF4-FFF2-40B4-BE49-F238E27FC236}">
                <a16:creationId xmlns:a16="http://schemas.microsoft.com/office/drawing/2014/main" id="{A9703B0E-7A0D-BEEF-B418-7E873031C632}"/>
              </a:ext>
            </a:extLst>
          </p:cNvPr>
          <p:cNvSpPr>
            <a:spLocks noGrp="1"/>
          </p:cNvSpPr>
          <p:nvPr>
            <p:ph type="body" sz="quarter" idx="42"/>
          </p:nvPr>
        </p:nvSpPr>
        <p:spPr>
          <a:xfrm>
            <a:off x="8237792" y="1592263"/>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41">
            <a:extLst>
              <a:ext uri="{FF2B5EF4-FFF2-40B4-BE49-F238E27FC236}">
                <a16:creationId xmlns:a16="http://schemas.microsoft.com/office/drawing/2014/main" id="{5F13C956-C13D-9712-7D6C-F3AE7F742D8E}"/>
              </a:ext>
            </a:extLst>
          </p:cNvPr>
          <p:cNvSpPr>
            <a:spLocks noGrp="1"/>
          </p:cNvSpPr>
          <p:nvPr>
            <p:ph type="pic" sz="quarter" idx="39"/>
          </p:nvPr>
        </p:nvSpPr>
        <p:spPr>
          <a:xfrm>
            <a:off x="382586" y="3916844"/>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3" name="Text Placeholder 22">
            <a:extLst>
              <a:ext uri="{FF2B5EF4-FFF2-40B4-BE49-F238E27FC236}">
                <a16:creationId xmlns:a16="http://schemas.microsoft.com/office/drawing/2014/main" id="{69CA158F-8B43-966B-6008-4D0D51BBE85B}"/>
              </a:ext>
            </a:extLst>
          </p:cNvPr>
          <p:cNvSpPr>
            <a:spLocks noGrp="1"/>
          </p:cNvSpPr>
          <p:nvPr>
            <p:ph type="body" sz="quarter" idx="41"/>
          </p:nvPr>
        </p:nvSpPr>
        <p:spPr>
          <a:xfrm>
            <a:off x="2453364" y="3916844"/>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39">
            <a:extLst>
              <a:ext uri="{FF2B5EF4-FFF2-40B4-BE49-F238E27FC236}">
                <a16:creationId xmlns:a16="http://schemas.microsoft.com/office/drawing/2014/main" id="{594C5E70-2EB4-5177-332C-384ACAF9D1A8}"/>
              </a:ext>
            </a:extLst>
          </p:cNvPr>
          <p:cNvSpPr>
            <a:spLocks noGrp="1"/>
          </p:cNvSpPr>
          <p:nvPr>
            <p:ph type="pic" sz="quarter" idx="37"/>
          </p:nvPr>
        </p:nvSpPr>
        <p:spPr>
          <a:xfrm>
            <a:off x="6180139" y="3916844"/>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5" name="Text Placeholder 24">
            <a:extLst>
              <a:ext uri="{FF2B5EF4-FFF2-40B4-BE49-F238E27FC236}">
                <a16:creationId xmlns:a16="http://schemas.microsoft.com/office/drawing/2014/main" id="{7B113870-20C7-72CF-9D6C-AC28C03DDDB5}"/>
              </a:ext>
            </a:extLst>
          </p:cNvPr>
          <p:cNvSpPr>
            <a:spLocks noGrp="1"/>
          </p:cNvSpPr>
          <p:nvPr>
            <p:ph type="body" sz="quarter" idx="43"/>
          </p:nvPr>
        </p:nvSpPr>
        <p:spPr>
          <a:xfrm>
            <a:off x="8237792" y="3916844"/>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a:extLst>
              <a:ext uri="{FF2B5EF4-FFF2-40B4-BE49-F238E27FC236}">
                <a16:creationId xmlns:a16="http://schemas.microsoft.com/office/drawing/2014/main" id="{A56F15F3-E97E-9CD7-6F64-4988071CA2C0}"/>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FB2118D-60F4-31FC-0AB3-678D6FA31079}"/>
              </a:ext>
            </a:extLst>
          </p:cNvPr>
          <p:cNvSpPr>
            <a:spLocks noGrp="1"/>
          </p:cNvSpPr>
          <p:nvPr>
            <p:ph type="dt" sz="half" idx="12"/>
          </p:nvPr>
        </p:nvSpPr>
        <p:spPr/>
        <p:txBody>
          <a:bodyPr/>
          <a:lstStyle/>
          <a:p>
            <a:fld id="{9509AC16-4597-4703-88D6-BCD7199FEFD1}" type="datetime3">
              <a:rPr lang="en-GB" smtClean="0"/>
              <a:t>5 December, 2025</a:t>
            </a:fld>
            <a:endParaRPr lang="en-GB"/>
          </a:p>
        </p:txBody>
      </p:sp>
      <p:sp>
        <p:nvSpPr>
          <p:cNvPr id="3" name="Footer Placeholder 2">
            <a:extLst>
              <a:ext uri="{FF2B5EF4-FFF2-40B4-BE49-F238E27FC236}">
                <a16:creationId xmlns:a16="http://schemas.microsoft.com/office/drawing/2014/main" id="{D286D568-7CEA-C139-7A13-832404EF039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18DCC29F-8FFE-5F4A-B7D5-79EFC7AEE052}"/>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6" name="Rectangle 5">
            <a:extLst>
              <a:ext uri="{FF2B5EF4-FFF2-40B4-BE49-F238E27FC236}">
                <a16:creationId xmlns:a16="http://schemas.microsoft.com/office/drawing/2014/main" id="{4D1132E4-8AE8-F6F3-A0B6-F5C92246F212}"/>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s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30743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8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230875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8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30283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4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3790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6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8"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6"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55"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32"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09"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436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9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2139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4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2"/>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4000" y="3425151"/>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5209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60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2872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59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54236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8"/>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35406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5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73217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8C5546-A39E-4455-2571-16F2A048D7E4}"/>
              </a:ext>
            </a:extLst>
          </p:cNvPr>
          <p:cNvSpPr>
            <a:spLocks noGrp="1"/>
          </p:cNvSpPr>
          <p:nvPr>
            <p:ph type="title"/>
          </p:nvPr>
        </p:nvSpPr>
        <p:spPr/>
        <p:txBody>
          <a:bodyPr vert="horz"/>
          <a:lstStyle/>
          <a:p>
            <a:r>
              <a:rPr lang="en-US"/>
              <a:t>Click to edit Master title style</a:t>
            </a:r>
            <a:endParaRPr lang="en-GB"/>
          </a:p>
        </p:txBody>
      </p:sp>
      <p:sp>
        <p:nvSpPr>
          <p:cNvPr id="2" name="Text Placeholder 9">
            <a:extLst>
              <a:ext uri="{FF2B5EF4-FFF2-40B4-BE49-F238E27FC236}">
                <a16:creationId xmlns:a16="http://schemas.microsoft.com/office/drawing/2014/main" id="{1FF9F1A9-55B6-0E82-104A-5B94805416EE}"/>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8AED2CF2-CD99-C1DB-2A62-8446381EA2DF}"/>
              </a:ext>
            </a:extLst>
          </p:cNvPr>
          <p:cNvSpPr>
            <a:spLocks noGrp="1"/>
          </p:cNvSpPr>
          <p:nvPr>
            <p:ph type="dt" sz="half" idx="12"/>
          </p:nvPr>
        </p:nvSpPr>
        <p:spPr/>
        <p:txBody>
          <a:bodyPr/>
          <a:lstStyle/>
          <a:p>
            <a:fld id="{9249EE7A-E6BC-4FBE-8E14-1F37D5EBA44D}" type="datetime3">
              <a:rPr lang="en-GB" smtClean="0"/>
              <a:t>5 December, 2025</a:t>
            </a:fld>
            <a:endParaRPr lang="en-GB"/>
          </a:p>
        </p:txBody>
      </p:sp>
      <p:sp>
        <p:nvSpPr>
          <p:cNvPr id="3" name="Footer Placeholder 2">
            <a:extLst>
              <a:ext uri="{FF2B5EF4-FFF2-40B4-BE49-F238E27FC236}">
                <a16:creationId xmlns:a16="http://schemas.microsoft.com/office/drawing/2014/main" id="{FD2A3DC0-23A8-A34B-CD6D-B5D3224767F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3BA19DE-A067-6F27-A722-CF9B56934DC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65574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6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1"/>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16753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8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1284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1509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51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12650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8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4" y="1"/>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1532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7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8" y="270566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10334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8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1" y="218503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7"/>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8612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5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0795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7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95958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4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92325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AED2CF2-CD99-C1DB-2A62-8446381EA2DF}"/>
              </a:ext>
            </a:extLst>
          </p:cNvPr>
          <p:cNvSpPr>
            <a:spLocks noGrp="1"/>
          </p:cNvSpPr>
          <p:nvPr>
            <p:ph type="dt" sz="half" idx="12"/>
          </p:nvPr>
        </p:nvSpPr>
        <p:spPr/>
        <p:txBody>
          <a:bodyPr/>
          <a:lstStyle/>
          <a:p>
            <a:fld id="{FDC861E3-BD6E-4D0A-8AE3-00F2F1CB5275}" type="datetime3">
              <a:rPr lang="en-GB" smtClean="0"/>
              <a:t>5 December, 2025</a:t>
            </a:fld>
            <a:endParaRPr lang="en-GB"/>
          </a:p>
        </p:txBody>
      </p:sp>
      <p:sp>
        <p:nvSpPr>
          <p:cNvPr id="3" name="Footer Placeholder 2">
            <a:extLst>
              <a:ext uri="{FF2B5EF4-FFF2-40B4-BE49-F238E27FC236}">
                <a16:creationId xmlns:a16="http://schemas.microsoft.com/office/drawing/2014/main" id="{FD2A3DC0-23A8-A34B-CD6D-B5D3224767F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3BA19DE-A067-6F27-A722-CF9B56934DC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46997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3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800"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66605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8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1" y="2"/>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0"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8" y="2705668"/>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6494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05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4085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04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5539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03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6320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02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6"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6452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01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6505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00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5297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99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4323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9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5564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C8431F2-26FF-BA34-F186-7F81A22EDED9}"/>
              </a:ext>
            </a:extLst>
          </p:cNvPr>
          <p:cNvSpPr txBox="1"/>
          <p:nvPr/>
        </p:nvSpPr>
        <p:spPr>
          <a:xfrm>
            <a:off x="3337699" y="1251945"/>
            <a:ext cx="5516574" cy="1670522"/>
          </a:xfrm>
          <a:prstGeom prst="rect">
            <a:avLst/>
          </a:prstGeom>
          <a:noFill/>
        </p:spPr>
        <p:txBody>
          <a:bodyPr wrap="none" lIns="0" tIns="0" rIns="0" bIns="0" rtlCol="0" anchor="b">
            <a:spAutoFit/>
          </a:bodyPr>
          <a:lstStyle/>
          <a:p>
            <a:pPr marL="0" marR="0" indent="0" algn="ctr" defTabSz="914400" rtl="0" eaLnBrk="1" fontAlgn="auto" latinLnBrk="0" hangingPunct="1">
              <a:lnSpc>
                <a:spcPct val="120000"/>
              </a:lnSpc>
              <a:spcBef>
                <a:spcPts val="200"/>
              </a:spcBef>
              <a:spcAft>
                <a:spcPts val="0"/>
              </a:spcAft>
              <a:buClrTx/>
              <a:buSzTx/>
              <a:buFont typeface="Tenorite" panose="020B0604020202020204" pitchFamily="34" charset="0"/>
              <a:buNone/>
              <a:tabLst/>
            </a:pPr>
            <a:r>
              <a:rPr kumimoji="0" lang="en-US" sz="9600" b="1" i="0" u="none" strike="noStrike" kern="0" cap="none" spc="-10" normalizeH="0" baseline="0" noProof="0">
                <a:ln>
                  <a:noFill/>
                </a:ln>
                <a:solidFill>
                  <a:schemeClr val="accent1"/>
                </a:solidFill>
                <a:effectLst/>
                <a:uLnTx/>
                <a:uFillTx/>
                <a:latin typeface="+mj-lt"/>
                <a:ea typeface="+mn-ea"/>
                <a:cs typeface="+mn-cs"/>
              </a:rPr>
              <a:t>WARNING</a:t>
            </a:r>
          </a:p>
        </p:txBody>
      </p:sp>
      <p:sp>
        <p:nvSpPr>
          <p:cNvPr id="7" name="TextBox 6">
            <a:extLst>
              <a:ext uri="{FF2B5EF4-FFF2-40B4-BE49-F238E27FC236}">
                <a16:creationId xmlns:a16="http://schemas.microsoft.com/office/drawing/2014/main" id="{CFF2AB9E-8D3E-6B03-5233-1D8FA4408646}"/>
              </a:ext>
            </a:extLst>
          </p:cNvPr>
          <p:cNvSpPr txBox="1"/>
          <p:nvPr/>
        </p:nvSpPr>
        <p:spPr>
          <a:xfrm>
            <a:off x="2002891" y="2963458"/>
            <a:ext cx="8186215" cy="1477328"/>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200"/>
              </a:spcBef>
              <a:spcAft>
                <a:spcPts val="0"/>
              </a:spcAft>
              <a:buClrTx/>
              <a:buSzTx/>
              <a:buFont typeface="Tenorite" panose="020B0604020202020204" pitchFamily="34" charset="0"/>
              <a:buNone/>
              <a:tabLst/>
            </a:pPr>
            <a:r>
              <a:rPr kumimoji="0" lang="en-US" sz="4800" b="1" i="0" u="none" strike="noStrike" kern="0" cap="none" spc="-10" normalizeH="0" baseline="0" noProof="0">
                <a:ln>
                  <a:noFill/>
                </a:ln>
                <a:solidFill>
                  <a:schemeClr val="tx2"/>
                </a:solidFill>
                <a:effectLst/>
                <a:uLnTx/>
                <a:uFillTx/>
                <a:latin typeface="+mn-lt"/>
                <a:ea typeface="+mn-ea"/>
                <a:cs typeface="+mn-cs"/>
              </a:rPr>
              <a:t>Do not use this slide or any </a:t>
            </a:r>
            <a:br>
              <a:rPr kumimoji="0" lang="en-US" sz="4800" b="1" i="0" u="none" strike="noStrike" kern="0" cap="none" spc="-10" normalizeH="0" baseline="0" noProof="0">
                <a:ln>
                  <a:noFill/>
                </a:ln>
                <a:solidFill>
                  <a:schemeClr val="tx2"/>
                </a:solidFill>
                <a:effectLst/>
                <a:uLnTx/>
                <a:uFillTx/>
                <a:latin typeface="+mn-lt"/>
                <a:ea typeface="+mn-ea"/>
                <a:cs typeface="+mn-cs"/>
              </a:rPr>
            </a:br>
            <a:r>
              <a:rPr kumimoji="0" lang="en-US" sz="4800" b="1" i="0" u="none" strike="noStrike" kern="0" cap="none" spc="-10" normalizeH="0" baseline="0" noProof="0">
                <a:ln>
                  <a:noFill/>
                </a:ln>
                <a:solidFill>
                  <a:schemeClr val="tx2"/>
                </a:solidFill>
                <a:effectLst/>
                <a:uLnTx/>
                <a:uFillTx/>
                <a:latin typeface="+mn-lt"/>
                <a:ea typeface="+mn-ea"/>
                <a:cs typeface="+mn-cs"/>
              </a:rPr>
              <a:t>template layouts after it!</a:t>
            </a:r>
          </a:p>
        </p:txBody>
      </p:sp>
      <p:sp>
        <p:nvSpPr>
          <p:cNvPr id="12" name="TextBox 11">
            <a:extLst>
              <a:ext uri="{FF2B5EF4-FFF2-40B4-BE49-F238E27FC236}">
                <a16:creationId xmlns:a16="http://schemas.microsoft.com/office/drawing/2014/main" id="{DFE67DDD-D160-3D9B-2188-D9306CA813DF}"/>
              </a:ext>
            </a:extLst>
          </p:cNvPr>
          <p:cNvSpPr txBox="1"/>
          <p:nvPr/>
        </p:nvSpPr>
        <p:spPr>
          <a:xfrm>
            <a:off x="2660788" y="5172703"/>
            <a:ext cx="6870472" cy="276999"/>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200"/>
              </a:spcBef>
              <a:spcAft>
                <a:spcPts val="0"/>
              </a:spcAft>
              <a:buClrTx/>
              <a:buSzTx/>
              <a:buFont typeface="Tenorite" panose="020B0604020202020204" pitchFamily="34" charset="0"/>
              <a:buNone/>
              <a:tabLst/>
            </a:pPr>
            <a:r>
              <a:rPr kumimoji="0" lang="en-US" sz="1800" b="0" i="0" u="none" strike="noStrike" kern="0" cap="none" spc="-10" normalizeH="0" baseline="0" noProof="0">
                <a:ln>
                  <a:noFill/>
                </a:ln>
                <a:solidFill>
                  <a:schemeClr val="tx2"/>
                </a:solidFill>
                <a:effectLst/>
                <a:uLnTx/>
                <a:uFillTx/>
                <a:latin typeface="+mn-lt"/>
                <a:ea typeface="+mn-ea"/>
                <a:cs typeface="+mn-cs"/>
              </a:rPr>
              <a:t>They are not part of the template and have been incorrectly added</a:t>
            </a:r>
          </a:p>
        </p:txBody>
      </p:sp>
      <p:sp>
        <p:nvSpPr>
          <p:cNvPr id="5" name="Date Placeholder 4">
            <a:extLst>
              <a:ext uri="{FF2B5EF4-FFF2-40B4-BE49-F238E27FC236}">
                <a16:creationId xmlns:a16="http://schemas.microsoft.com/office/drawing/2014/main" id="{DDC919F5-C38B-5DD9-F3B3-DF10178ED2EB}"/>
              </a:ext>
            </a:extLst>
          </p:cNvPr>
          <p:cNvSpPr>
            <a:spLocks noGrp="1"/>
          </p:cNvSpPr>
          <p:nvPr>
            <p:ph type="dt" sz="half" idx="12"/>
          </p:nvPr>
        </p:nvSpPr>
        <p:spPr/>
        <p:txBody>
          <a:bodyPr/>
          <a:lstStyle/>
          <a:p>
            <a:fld id="{0CCABAF3-89D5-4C5A-A453-6DF0558B6B73}" type="datetime3">
              <a:rPr lang="en-GB" smtClean="0"/>
              <a:t>5 December, 2025</a:t>
            </a:fld>
            <a:endParaRPr lang="en-GB"/>
          </a:p>
        </p:txBody>
      </p:sp>
      <p:sp>
        <p:nvSpPr>
          <p:cNvPr id="3" name="Footer Placeholder 2">
            <a:extLst>
              <a:ext uri="{FF2B5EF4-FFF2-40B4-BE49-F238E27FC236}">
                <a16:creationId xmlns:a16="http://schemas.microsoft.com/office/drawing/2014/main" id="{5EAE4FB1-9FD0-8D6E-9F73-03791EAB2F90}"/>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FA9220E-7B8B-1854-EB1D-18C9BBD7EB0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97736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97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0"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0"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0419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4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5"/>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633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7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5790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3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5"/>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05653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6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6849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748952"/>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4761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0"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5"/>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33401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8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0"/>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5"/>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8"/>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8"/>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5"/>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8725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7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4"/>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7"/>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6"/>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2"/>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7202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7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2"/>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1"/>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1"/>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8"/>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98803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46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9795471"/>
              </p:ext>
            </p:extLst>
          </p:nvPr>
        </p:nvGraphicFramePr>
        <p:xfrm>
          <a:off x="2066" y="1703"/>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6" y="1703"/>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0987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4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6"/>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wrap="square">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9298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2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0"/>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3023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36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3967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366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7552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36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124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36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7658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36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11750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36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6105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361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0577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360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8134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77C10-90DE-DD7C-0479-C78EC5FE416F}"/>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CAA44063-AC26-3996-41EB-1DB0F51A3E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ECC3F35-F420-8B1D-0AA6-130C5D0F0F0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FED56AED-B2F8-3C87-5C92-1EC50331F4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30DF909-1DA1-9433-E38B-8607F912E7A5}"/>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0CAEEA5-9A13-22BB-EEDA-4A9B05A1ADDB}"/>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8" name="Footer Placeholder 7">
            <a:extLst>
              <a:ext uri="{FF2B5EF4-FFF2-40B4-BE49-F238E27FC236}">
                <a16:creationId xmlns:a16="http://schemas.microsoft.com/office/drawing/2014/main" id="{94D04AFE-7635-3B51-551D-BC53C84AB4F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7C6553-E81F-88A1-5E42-D41976828BB3}"/>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3946581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40881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35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193227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35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65304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5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41196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35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8441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35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40303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35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8931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35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95947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35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6140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35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05299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5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1832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383488"/>
            <a:ext cx="8105269" cy="785532"/>
          </a:xfrm>
          <a:prstGeom prst="rect">
            <a:avLst/>
          </a:prstGeom>
        </p:spPr>
        <p:txBody>
          <a:bodyPr lIns="0"/>
          <a:lstStyle>
            <a:lvl1pPr>
              <a:lnSpc>
                <a:spcPct val="90000"/>
              </a:lnSpc>
              <a:defRPr lang="en-GB" sz="4002"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11090638" cy="4990437"/>
          </a:xfrm>
          <a:prstGeom prst="rect">
            <a:avLst/>
          </a:prstGeom>
        </p:spPr>
        <p:txBody>
          <a:bodyPr/>
          <a:lstStyle/>
          <a:p>
            <a:endParaRPr lang="en-GB"/>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6679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349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134806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48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310644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347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15456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34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05146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34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2308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4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28831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4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98265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342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31449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89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7152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4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3"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4942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3840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33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80"/>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16425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2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897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45">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2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wrap="square">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6659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0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3502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56" y="1589"/>
          <a:ext cx="1955"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956" y="1589"/>
                        <a:ext cx="1955"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0"/>
            <a:ext cx="195385"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n-US" sz="2585" b="1">
              <a:solidFill>
                <a:srgbClr val="FFFFFF"/>
              </a:solidFill>
              <a:sym typeface="Arial" panose="020B0604020202020204" pitchFamily="34" charset="0"/>
            </a:endParaRPr>
          </a:p>
        </p:txBody>
      </p:sp>
      <p:sp>
        <p:nvSpPr>
          <p:cNvPr id="2" name="Title 1"/>
          <p:cNvSpPr>
            <a:spLocks noGrp="1"/>
          </p:cNvSpPr>
          <p:nvPr>
            <p:ph type="title"/>
          </p:nvPr>
        </p:nvSpPr>
        <p:spPr/>
        <p:txBody>
          <a:bodyPr/>
          <a:lstStyle>
            <a:lvl1pPr>
              <a:defRPr sz="2585">
                <a:latin typeface="+mj-lt"/>
                <a:ea typeface="+mj-ea"/>
                <a:cs typeface="+mj-cs"/>
                <a:sym typeface="+mj-lt"/>
              </a:defRPr>
            </a:lvl1pPr>
          </a:lstStyle>
          <a:p>
            <a:r>
              <a:rPr lang="en-US"/>
              <a:t>Click to edit Master title style</a:t>
            </a:r>
            <a:endParaRPr lang="en-GB"/>
          </a:p>
        </p:txBody>
      </p:sp>
      <p:sp>
        <p:nvSpPr>
          <p:cNvPr id="3" name="Content Placeholder 2"/>
          <p:cNvSpPr>
            <a:spLocks noGrp="1"/>
          </p:cNvSpPr>
          <p:nvPr>
            <p:ph idx="1" hasCustomPrompt="1"/>
          </p:nvPr>
        </p:nvSpPr>
        <p:spPr>
          <a:xfrm>
            <a:off x="521682" y="1692000"/>
            <a:ext cx="9092908" cy="4536000"/>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add text or select icon to insert image, graphic, table, chart, smart art or media </a:t>
            </a:r>
            <a:endParaRPr lang="en-GB"/>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5"/>
          <p:cNvSpPr>
            <a:spLocks noGrp="1"/>
          </p:cNvSpPr>
          <p:nvPr>
            <p:ph type="body" sz="quarter" idx="15" hasCustomPrompt="1"/>
          </p:nvPr>
        </p:nvSpPr>
        <p:spPr>
          <a:xfrm>
            <a:off x="532215" y="952500"/>
            <a:ext cx="9081508" cy="382060"/>
          </a:xfrm>
        </p:spPr>
        <p:txBody>
          <a:bodyPr/>
          <a:lstStyle>
            <a:lvl1pPr marL="0" indent="0">
              <a:lnSpc>
                <a:spcPct val="80000"/>
              </a:lnSpc>
              <a:spcAft>
                <a:spcPts val="0"/>
              </a:spcAft>
              <a:buNone/>
              <a:defRPr sz="1292" b="1">
                <a:latin typeface="+mn-lt"/>
                <a:ea typeface="+mn-ea"/>
                <a:cs typeface="+mn-cs"/>
                <a:sym typeface="+mn-lt"/>
              </a:defRPr>
            </a:lvl1pPr>
            <a:lvl2pPr marL="230578" indent="0">
              <a:buNone/>
              <a:defRPr/>
            </a:lvl2pPr>
            <a:lvl3pPr marL="455295" indent="0">
              <a:buNone/>
              <a:defRPr/>
            </a:lvl3pPr>
            <a:lvl4pPr marL="670239" indent="0">
              <a:buNone/>
              <a:defRPr/>
            </a:lvl4pPr>
            <a:lvl5pPr marL="894957" indent="0">
              <a:buNone/>
              <a:defRPr/>
            </a:lvl5pPr>
          </a:lstStyle>
          <a:p>
            <a:pPr lvl="0"/>
            <a:r>
              <a:rPr lang="en-US"/>
              <a:t>Add a subhead here</a:t>
            </a:r>
            <a:endParaRPr lang="en-GB"/>
          </a:p>
        </p:txBody>
      </p:sp>
    </p:spTree>
    <p:extLst>
      <p:ext uri="{BB962C8B-B14F-4D97-AF65-F5344CB8AC3E}">
        <p14:creationId xmlns:p14="http://schemas.microsoft.com/office/powerpoint/2010/main" val="381732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Standard slide + subtit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3" y="425496"/>
            <a:ext cx="8105269" cy="785532"/>
          </a:xfrm>
          <a:prstGeom prst="rect">
            <a:avLst/>
          </a:prstGeom>
        </p:spPr>
        <p:txBody>
          <a:bodyPr lIns="0"/>
          <a:lstStyle>
            <a:lvl1pPr>
              <a:lnSpc>
                <a:spcPct val="90000"/>
              </a:lnSpc>
              <a:defRPr lang="en-GB" sz="3600"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Standard content slid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808079" y="280706"/>
            <a:ext cx="1297759" cy="657774"/>
          </a:xfrm>
          <a:prstGeom prst="rect">
            <a:avLst/>
          </a:prstGeom>
        </p:spPr>
      </p:pic>
      <p:sp>
        <p:nvSpPr>
          <p:cNvPr id="2" name="Text Placeholder 8">
            <a:extLst>
              <a:ext uri="{FF2B5EF4-FFF2-40B4-BE49-F238E27FC236}">
                <a16:creationId xmlns:a16="http://schemas.microsoft.com/office/drawing/2014/main" id="{51A1FE4A-2A5F-132E-E6B3-2AE7F1CB094E}"/>
              </a:ext>
            </a:extLst>
          </p:cNvPr>
          <p:cNvSpPr>
            <a:spLocks noGrp="1"/>
          </p:cNvSpPr>
          <p:nvPr>
            <p:ph type="body" sz="quarter" idx="12" hasCustomPrompt="1"/>
          </p:nvPr>
        </p:nvSpPr>
        <p:spPr>
          <a:xfrm>
            <a:off x="550683" y="1003093"/>
            <a:ext cx="8105269" cy="485182"/>
          </a:xfrm>
          <a:prstGeom prst="rect">
            <a:avLst/>
          </a:prstGeom>
        </p:spPr>
        <p:txBody>
          <a:bodyPr lIns="0"/>
          <a:lstStyle>
            <a:lvl1pPr>
              <a:lnSpc>
                <a:spcPct val="90000"/>
              </a:lnSpc>
              <a:defRPr lang="en-GB" sz="1600" b="1" i="0" spc="-85" dirty="0">
                <a:solidFill>
                  <a:schemeClr val="tx1"/>
                </a:solidFill>
                <a:latin typeface="Poppins"/>
                <a:ea typeface="+mj-ea"/>
                <a:cs typeface="Poppins"/>
              </a:defRPr>
            </a:lvl1pPr>
          </a:lstStyle>
          <a:p>
            <a:pPr lvl="0"/>
            <a:r>
              <a:rPr lang="en-GB"/>
              <a:t>Subtitle and governing thought</a:t>
            </a:r>
          </a:p>
        </p:txBody>
      </p:sp>
    </p:spTree>
    <p:extLst>
      <p:ext uri="{BB962C8B-B14F-4D97-AF65-F5344CB8AC3E}">
        <p14:creationId xmlns:p14="http://schemas.microsoft.com/office/powerpoint/2010/main" val="76715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pSp>
        <p:nvGrpSpPr>
          <p:cNvPr id="20" name="Group 19" descr="Subtitle">
            <a:extLst>
              <a:ext uri="{FF2B5EF4-FFF2-40B4-BE49-F238E27FC236}">
                <a16:creationId xmlns:a16="http://schemas.microsoft.com/office/drawing/2014/main" id="{AF32C9A6-F465-4AFD-8A55-BF8D7238331D}"/>
              </a:ext>
            </a:extLst>
          </p:cNvPr>
          <p:cNvGrpSpPr/>
          <p:nvPr userDrawn="1"/>
        </p:nvGrpSpPr>
        <p:grpSpPr>
          <a:xfrm>
            <a:off x="0" y="-2371"/>
            <a:ext cx="12192000" cy="6860372"/>
            <a:chOff x="0" y="-1779"/>
            <a:chExt cx="9144000" cy="5145279"/>
          </a:xfrm>
        </p:grpSpPr>
        <p:sp>
          <p:nvSpPr>
            <p:cNvPr id="11" name="Rectangle 10">
              <a:extLst>
                <a:ext uri="{FF2B5EF4-FFF2-40B4-BE49-F238E27FC236}">
                  <a16:creationId xmlns:a16="http://schemas.microsoft.com/office/drawing/2014/main" id="{5BED3732-535E-4635-B982-6088BC8CA092}"/>
                </a:ext>
              </a:extLst>
            </p:cNvPr>
            <p:cNvSpPr/>
            <p:nvPr userDrawn="1"/>
          </p:nvSpPr>
          <p:spPr bwMode="auto">
            <a:xfrm>
              <a:off x="0" y="1"/>
              <a:ext cx="9143999" cy="5143499"/>
            </a:xfrm>
            <a:prstGeom prst="rect">
              <a:avLst/>
            </a:prstGeom>
            <a:gradFill flip="none" rotWithShape="1">
              <a:gsLst>
                <a:gs pos="28000">
                  <a:schemeClr val="accent2">
                    <a:lumMod val="100000"/>
                  </a:schemeClr>
                </a:gs>
                <a:gs pos="71000">
                  <a:schemeClr val="accent3"/>
                </a:gs>
              </a:gsLst>
              <a:lin ang="18900000" scaled="1"/>
              <a:tileRect/>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endParaRPr lang="en-US" sz="1800">
                <a:solidFill>
                  <a:srgbClr val="000000"/>
                </a:solidFill>
              </a:endParaRPr>
            </a:p>
          </p:txBody>
        </p:sp>
        <p:pic>
          <p:nvPicPr>
            <p:cNvPr id="12" name="Picture 11" descr="large-chevron-01.png">
              <a:extLst>
                <a:ext uri="{FF2B5EF4-FFF2-40B4-BE49-F238E27FC236}">
                  <a16:creationId xmlns:a16="http://schemas.microsoft.com/office/drawing/2014/main" id="{4E04C9E6-3158-437D-9B05-78CE8F96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4239" y="-1779"/>
              <a:ext cx="6839761" cy="5143500"/>
            </a:xfrm>
            <a:prstGeom prst="rect">
              <a:avLst/>
            </a:prstGeom>
          </p:spPr>
        </p:pic>
      </p:grpSp>
      <p:pic>
        <p:nvPicPr>
          <p:cNvPr id="13" name="Picture 12" descr="A close up of a logo&#10;&#10;Description automatically generated">
            <a:extLst>
              <a:ext uri="{FF2B5EF4-FFF2-40B4-BE49-F238E27FC236}">
                <a16:creationId xmlns:a16="http://schemas.microsoft.com/office/drawing/2014/main" id="{E869EDC2-CA41-456F-ABF6-E77476A51A35}"/>
              </a:ext>
            </a:extLst>
          </p:cNvPr>
          <p:cNvPicPr>
            <a:picLocks noChangeAspect="1"/>
          </p:cNvPicPr>
          <p:nvPr userDrawn="1"/>
        </p:nvPicPr>
        <p:blipFill>
          <a:blip r:embed="rId3"/>
          <a:stretch>
            <a:fillRect/>
          </a:stretch>
        </p:blipFill>
        <p:spPr>
          <a:xfrm>
            <a:off x="10231885" y="6231083"/>
            <a:ext cx="1433068" cy="462280"/>
          </a:xfrm>
          <a:prstGeom prst="rect">
            <a:avLst/>
          </a:prstGeom>
        </p:spPr>
      </p:pic>
      <p:sp>
        <p:nvSpPr>
          <p:cNvPr id="19" name="Text Placeholder 18" descr="Title">
            <a:extLst>
              <a:ext uri="{FF2B5EF4-FFF2-40B4-BE49-F238E27FC236}">
                <a16:creationId xmlns:a16="http://schemas.microsoft.com/office/drawing/2014/main" id="{9FDA6ECD-66FD-4EF8-9A2B-A7C4BCD6B445}"/>
              </a:ext>
            </a:extLst>
          </p:cNvPr>
          <p:cNvSpPr>
            <a:spLocks noGrp="1"/>
          </p:cNvSpPr>
          <p:nvPr>
            <p:ph type="body" sz="quarter" idx="10" hasCustomPrompt="1"/>
          </p:nvPr>
        </p:nvSpPr>
        <p:spPr>
          <a:xfrm>
            <a:off x="541759" y="2554246"/>
            <a:ext cx="8337551" cy="359833"/>
          </a:xfrm>
        </p:spPr>
        <p:txBody>
          <a:bodyPr anchor="ctr" anchorCtr="0"/>
          <a:lstStyle>
            <a:lvl1pPr marL="0" indent="0">
              <a:buNone/>
              <a:defRPr sz="2250" b="1" cap="all" baseline="0">
                <a:solidFill>
                  <a:schemeClr val="bg1"/>
                </a:solidFill>
              </a:defRPr>
            </a:lvl1pPr>
          </a:lstStyle>
          <a:p>
            <a:pPr lvl="0"/>
            <a:r>
              <a:rPr lang="en-US"/>
              <a:t>Click here to enter Title</a:t>
            </a:r>
            <a:endParaRPr lang="en-GB"/>
          </a:p>
        </p:txBody>
      </p:sp>
      <p:sp>
        <p:nvSpPr>
          <p:cNvPr id="22" name="Text Placeholder 21">
            <a:extLst>
              <a:ext uri="{FF2B5EF4-FFF2-40B4-BE49-F238E27FC236}">
                <a16:creationId xmlns:a16="http://schemas.microsoft.com/office/drawing/2014/main" id="{7AAE1D75-A6EB-46F9-B60A-574B3D29E0C7}"/>
              </a:ext>
            </a:extLst>
          </p:cNvPr>
          <p:cNvSpPr>
            <a:spLocks noGrp="1"/>
          </p:cNvSpPr>
          <p:nvPr>
            <p:ph type="body" sz="quarter" idx="11" hasCustomPrompt="1"/>
          </p:nvPr>
        </p:nvSpPr>
        <p:spPr>
          <a:xfrm>
            <a:off x="541758" y="2925253"/>
            <a:ext cx="7858503" cy="360000"/>
          </a:xfrm>
        </p:spPr>
        <p:txBody>
          <a:bodyPr/>
          <a:lstStyle>
            <a:lvl1pPr marL="0" indent="0">
              <a:buNone/>
              <a:defRPr sz="2250" cap="all" baseline="0">
                <a:solidFill>
                  <a:schemeClr val="bg1"/>
                </a:solidFill>
              </a:defRPr>
            </a:lvl1pPr>
          </a:lstStyle>
          <a:p>
            <a:pPr lvl="0"/>
            <a:r>
              <a:rPr lang="en-GB"/>
              <a:t>Click here to enter SUBTITLE</a:t>
            </a:r>
          </a:p>
        </p:txBody>
      </p:sp>
      <p:sp>
        <p:nvSpPr>
          <p:cNvPr id="25" name="Text Placeholder 24">
            <a:extLst>
              <a:ext uri="{FF2B5EF4-FFF2-40B4-BE49-F238E27FC236}">
                <a16:creationId xmlns:a16="http://schemas.microsoft.com/office/drawing/2014/main" id="{1F89D9E5-AACB-4734-9A40-F9519E651D8C}"/>
              </a:ext>
            </a:extLst>
          </p:cNvPr>
          <p:cNvSpPr>
            <a:spLocks noGrp="1"/>
          </p:cNvSpPr>
          <p:nvPr>
            <p:ph type="body" sz="quarter" idx="12" hasCustomPrompt="1"/>
          </p:nvPr>
        </p:nvSpPr>
        <p:spPr>
          <a:xfrm>
            <a:off x="527053" y="4252268"/>
            <a:ext cx="4705349" cy="312000"/>
          </a:xfrm>
        </p:spPr>
        <p:txBody>
          <a:bodyPr/>
          <a:lstStyle>
            <a:lvl1pPr marL="0" indent="0">
              <a:buNone/>
              <a:defRPr sz="1500" b="1">
                <a:solidFill>
                  <a:schemeClr val="bg1"/>
                </a:solidFill>
              </a:defRPr>
            </a:lvl1pPr>
          </a:lstStyle>
          <a:p>
            <a:pPr lvl="0"/>
            <a:r>
              <a:rPr lang="en-GB"/>
              <a:t>Click here to enter Presentation Author</a:t>
            </a:r>
          </a:p>
        </p:txBody>
      </p:sp>
      <p:sp>
        <p:nvSpPr>
          <p:cNvPr id="27" name="Text Placeholder 26">
            <a:extLst>
              <a:ext uri="{FF2B5EF4-FFF2-40B4-BE49-F238E27FC236}">
                <a16:creationId xmlns:a16="http://schemas.microsoft.com/office/drawing/2014/main" id="{09D7C18C-91A4-4C2F-94B1-763ED419B335}"/>
              </a:ext>
            </a:extLst>
          </p:cNvPr>
          <p:cNvSpPr>
            <a:spLocks noGrp="1"/>
          </p:cNvSpPr>
          <p:nvPr>
            <p:ph type="body" sz="quarter" idx="13" hasCustomPrompt="1"/>
          </p:nvPr>
        </p:nvSpPr>
        <p:spPr>
          <a:xfrm>
            <a:off x="527053" y="4587168"/>
            <a:ext cx="4705349" cy="312000"/>
          </a:xfrm>
        </p:spPr>
        <p:txBody>
          <a:bodyPr/>
          <a:lstStyle>
            <a:lvl1pPr marL="0" indent="0">
              <a:buNone/>
              <a:defRPr sz="1500">
                <a:solidFill>
                  <a:schemeClr val="bg1"/>
                </a:solidFill>
              </a:defRPr>
            </a:lvl1pPr>
          </a:lstStyle>
          <a:p>
            <a:pPr lvl="0"/>
            <a:r>
              <a:rPr lang="en-GB"/>
              <a:t>Click here to enter Date</a:t>
            </a:r>
          </a:p>
        </p:txBody>
      </p:sp>
      <p:sp>
        <p:nvSpPr>
          <p:cNvPr id="14" name="Footer Placeholder 5">
            <a:extLst>
              <a:ext uri="{FF2B5EF4-FFF2-40B4-BE49-F238E27FC236}">
                <a16:creationId xmlns:a16="http://schemas.microsoft.com/office/drawing/2014/main" id="{CF3399CA-77E3-45E9-97B1-F6F8D1B71A36}"/>
              </a:ext>
            </a:extLst>
          </p:cNvPr>
          <p:cNvSpPr>
            <a:spLocks noGrp="1"/>
          </p:cNvSpPr>
          <p:nvPr>
            <p:ph type="ftr" sz="quarter" idx="14"/>
          </p:nvPr>
        </p:nvSpPr>
        <p:spPr>
          <a:xfrm>
            <a:off x="527050" y="6462223"/>
            <a:ext cx="1152459" cy="177516"/>
          </a:xfrm>
          <a:prstGeom prst="rect">
            <a:avLst/>
          </a:prstGeom>
        </p:spPr>
        <p:txBody>
          <a:bodyPr anchor="ctr"/>
          <a:lstStyle>
            <a:lvl1pPr algn="l">
              <a:defRPr sz="800">
                <a:solidFill>
                  <a:schemeClr val="bg1"/>
                </a:solidFill>
              </a:defRPr>
            </a:lvl1pPr>
          </a:lstStyle>
          <a:p>
            <a:r>
              <a:rPr lang="en-GB"/>
              <a:t>Confidential</a:t>
            </a:r>
          </a:p>
        </p:txBody>
      </p:sp>
    </p:spTree>
    <p:extLst>
      <p:ext uri="{BB962C8B-B14F-4D97-AF65-F5344CB8AC3E}">
        <p14:creationId xmlns:p14="http://schemas.microsoft.com/office/powerpoint/2010/main" val="3513173467"/>
      </p:ext>
    </p:extLst>
  </p:cSld>
  <p:clrMapOvr>
    <a:overrideClrMapping bg1="lt1" tx1="dk1" bg2="lt2" tx2="dk2" accent1="accent1" accent2="accent2" accent3="accent3" accent4="accent4" accent5="accent5" accent6="accent6" hlink="hlink" folHlink="folHlink"/>
  </p:clrMapOvr>
  <p:transition spd="med">
    <p:fade thruBlk="1"/>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pic>
        <p:nvPicPr>
          <p:cNvPr id="4" name="Picture 3" descr="A picture containing drawing, mug&#10;&#10;Description automatically generated">
            <a:extLst>
              <a:ext uri="{FF2B5EF4-FFF2-40B4-BE49-F238E27FC236}">
                <a16:creationId xmlns:a16="http://schemas.microsoft.com/office/drawing/2014/main" id="{B804DEA5-3DA9-CCE9-8491-89C0C5C69FE5}"/>
              </a:ext>
            </a:extLst>
          </p:cNvPr>
          <p:cNvPicPr>
            <a:picLocks noChangeAspect="1"/>
          </p:cNvPicPr>
          <p:nvPr userDrawn="1"/>
        </p:nvPicPr>
        <p:blipFill>
          <a:blip r:embed="rId2"/>
          <a:stretch>
            <a:fillRect/>
          </a:stretch>
        </p:blipFill>
        <p:spPr>
          <a:xfrm>
            <a:off x="10426567" y="232915"/>
            <a:ext cx="1469415" cy="419893"/>
          </a:xfrm>
          <a:prstGeom prst="rect">
            <a:avLst/>
          </a:prstGeom>
        </p:spPr>
      </p:pic>
      <p:sp>
        <p:nvSpPr>
          <p:cNvPr id="2" name="Title 1">
            <a:extLst>
              <a:ext uri="{FF2B5EF4-FFF2-40B4-BE49-F238E27FC236}">
                <a16:creationId xmlns:a16="http://schemas.microsoft.com/office/drawing/2014/main" id="{AA52A056-5A3D-DC7C-961A-9FDE252DA6E9}"/>
              </a:ext>
            </a:extLst>
          </p:cNvPr>
          <p:cNvSpPr>
            <a:spLocks noGrp="1"/>
          </p:cNvSpPr>
          <p:nvPr>
            <p:ph type="title" hasCustomPrompt="1"/>
          </p:nvPr>
        </p:nvSpPr>
        <p:spPr>
          <a:xfrm>
            <a:off x="330375" y="321169"/>
            <a:ext cx="9504000" cy="615553"/>
          </a:xfrm>
        </p:spPr>
        <p:txBody>
          <a:bodyPr lIns="0" tIns="0" rIns="0" bIns="0"/>
          <a:lstStyle>
            <a:lvl1pPr>
              <a:defRPr sz="2000">
                <a:latin typeface="+mj-lt"/>
              </a:defRPr>
            </a:lvl1pPr>
          </a:lstStyle>
          <a:p>
            <a:r>
              <a:rPr lang="en-US"/>
              <a:t>Click to edit Master title style</a:t>
            </a:r>
            <a:br>
              <a:rPr lang="en-US"/>
            </a:br>
            <a:endParaRPr lang="en-GB"/>
          </a:p>
        </p:txBody>
      </p:sp>
      <p:cxnSp>
        <p:nvCxnSpPr>
          <p:cNvPr id="6" name="Straight Connector 5">
            <a:extLst>
              <a:ext uri="{FF2B5EF4-FFF2-40B4-BE49-F238E27FC236}">
                <a16:creationId xmlns:a16="http://schemas.microsoft.com/office/drawing/2014/main" id="{49D37C82-4E9E-148A-8BC5-2FF27BA21DFC}"/>
              </a:ext>
            </a:extLst>
          </p:cNvPr>
          <p:cNvCxnSpPr>
            <a:cxnSpLocks/>
          </p:cNvCxnSpPr>
          <p:nvPr userDrawn="1"/>
        </p:nvCxnSpPr>
        <p:spPr bwMode="auto">
          <a:xfrm>
            <a:off x="330376" y="1056439"/>
            <a:ext cx="11565606" cy="0"/>
          </a:xfrm>
          <a:prstGeom prst="line">
            <a:avLst/>
          </a:prstGeom>
          <a:solidFill>
            <a:schemeClr val="accent1"/>
          </a:solidFill>
          <a:ln w="19050" cap="flat" cmpd="sng" algn="ctr">
            <a:solidFill>
              <a:schemeClr val="accent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3" name="Footer Placeholder 2">
            <a:extLst>
              <a:ext uri="{FF2B5EF4-FFF2-40B4-BE49-F238E27FC236}">
                <a16:creationId xmlns:a16="http://schemas.microsoft.com/office/drawing/2014/main" id="{486AA172-C6EE-7C3E-8022-BBB96E1471DE}"/>
              </a:ext>
            </a:extLst>
          </p:cNvPr>
          <p:cNvSpPr>
            <a:spLocks noGrp="1"/>
          </p:cNvSpPr>
          <p:nvPr>
            <p:ph type="ftr" sz="quarter" idx="10"/>
          </p:nvPr>
        </p:nvSpPr>
        <p:spPr>
          <a:xfrm>
            <a:off x="527052" y="6485755"/>
            <a:ext cx="1152459" cy="177516"/>
          </a:xfrm>
          <a:prstGeom prst="rect">
            <a:avLst/>
          </a:prstGeom>
        </p:spPr>
        <p:txBody>
          <a:bodyPr/>
          <a:lstStyle/>
          <a:p>
            <a:r>
              <a:rPr lang="en-GB"/>
              <a:t>Confidential</a:t>
            </a:r>
          </a:p>
        </p:txBody>
      </p:sp>
    </p:spTree>
    <p:extLst>
      <p:ext uri="{BB962C8B-B14F-4D97-AF65-F5344CB8AC3E}">
        <p14:creationId xmlns:p14="http://schemas.microsoft.com/office/powerpoint/2010/main" val="409348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26">
          <p15:clr>
            <a:srgbClr val="FBAE40"/>
          </p15:clr>
        </p15:guide>
        <p15:guide id="2" pos="202">
          <p15:clr>
            <a:srgbClr val="FBAE40"/>
          </p15:clr>
        </p15:guide>
        <p15:guide id="3" pos="4496">
          <p15:clr>
            <a:srgbClr val="FBAE40"/>
          </p15:clr>
        </p15:guide>
        <p15:guide id="4" orient="horz" pos="690">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B744A-31A5-98E7-5CDB-AE11F3F0D930}"/>
              </a:ext>
            </a:extLst>
          </p:cNvPr>
          <p:cNvSpPr>
            <a:spLocks noGrp="1"/>
          </p:cNvSpPr>
          <p:nvPr>
            <p:ph type="title"/>
          </p:nvPr>
        </p:nvSpPr>
        <p:spPr/>
        <p:txBody>
          <a:bodyPr/>
          <a:lstStyle/>
          <a:p>
            <a:r>
              <a:rPr lang="en-GB"/>
              <a:t>Click to edit Master title style</a:t>
            </a:r>
          </a:p>
        </p:txBody>
      </p:sp>
      <p:sp>
        <p:nvSpPr>
          <p:cNvPr id="5" name="TextBox 4">
            <a:extLst>
              <a:ext uri="{FF2B5EF4-FFF2-40B4-BE49-F238E27FC236}">
                <a16:creationId xmlns:a16="http://schemas.microsoft.com/office/drawing/2014/main" id="{84CF02C8-02FF-6768-45C6-AECD17BBF48C}"/>
              </a:ext>
            </a:extLst>
          </p:cNvPr>
          <p:cNvSpPr txBox="1"/>
          <p:nvPr userDrawn="1"/>
        </p:nvSpPr>
        <p:spPr>
          <a:xfrm>
            <a:off x="-1067655" y="460493"/>
            <a:ext cx="969174" cy="502573"/>
          </a:xfrm>
          <a:prstGeom prst="rect">
            <a:avLst/>
          </a:prstGeom>
          <a:noFill/>
        </p:spPr>
        <p:txBody>
          <a:bodyPr wrap="square" rtlCol="0">
            <a:spAutoFit/>
          </a:bodyPr>
          <a:lstStyle/>
          <a:p>
            <a:pPr algn="ctr"/>
            <a:r>
              <a:rPr lang="en-US" sz="1333">
                <a:latin typeface="+mn-lt"/>
              </a:rPr>
              <a:t>Embark colours</a:t>
            </a:r>
            <a:endParaRPr lang="en-GB" sz="1333">
              <a:latin typeface="+mn-lt"/>
            </a:endParaRPr>
          </a:p>
        </p:txBody>
      </p:sp>
      <p:sp>
        <p:nvSpPr>
          <p:cNvPr id="6" name="Rectangle 5">
            <a:extLst>
              <a:ext uri="{FF2B5EF4-FFF2-40B4-BE49-F238E27FC236}">
                <a16:creationId xmlns:a16="http://schemas.microsoft.com/office/drawing/2014/main" id="{CFFC2934-A750-3E3B-CB03-E46727954D7C}"/>
              </a:ext>
            </a:extLst>
          </p:cNvPr>
          <p:cNvSpPr/>
          <p:nvPr userDrawn="1"/>
        </p:nvSpPr>
        <p:spPr bwMode="auto">
          <a:xfrm>
            <a:off x="-825681" y="1170264"/>
            <a:ext cx="485228" cy="485228"/>
          </a:xfrm>
          <a:prstGeom prst="rect">
            <a:avLst/>
          </a:prstGeom>
          <a:solidFill>
            <a:schemeClr val="accent2"/>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7" name="Rectangle 6">
            <a:extLst>
              <a:ext uri="{FF2B5EF4-FFF2-40B4-BE49-F238E27FC236}">
                <a16:creationId xmlns:a16="http://schemas.microsoft.com/office/drawing/2014/main" id="{0B324FE4-9C16-BBA4-3644-23166996308B}"/>
              </a:ext>
            </a:extLst>
          </p:cNvPr>
          <p:cNvSpPr/>
          <p:nvPr userDrawn="1"/>
        </p:nvSpPr>
        <p:spPr bwMode="auto">
          <a:xfrm>
            <a:off x="-825681" y="1705710"/>
            <a:ext cx="485228" cy="485228"/>
          </a:xfrm>
          <a:prstGeom prst="rect">
            <a:avLst/>
          </a:prstGeom>
          <a:solidFill>
            <a:schemeClr val="accent3"/>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8" name="Rectangle 7">
            <a:extLst>
              <a:ext uri="{FF2B5EF4-FFF2-40B4-BE49-F238E27FC236}">
                <a16:creationId xmlns:a16="http://schemas.microsoft.com/office/drawing/2014/main" id="{F97E3DDE-65F0-AC18-D54B-7580C42126A6}"/>
              </a:ext>
            </a:extLst>
          </p:cNvPr>
          <p:cNvSpPr/>
          <p:nvPr userDrawn="1"/>
        </p:nvSpPr>
        <p:spPr bwMode="auto">
          <a:xfrm>
            <a:off x="-825681" y="2241159"/>
            <a:ext cx="485228" cy="485228"/>
          </a:xfrm>
          <a:prstGeom prst="rect">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14" name="Rectangle 13">
            <a:extLst>
              <a:ext uri="{FF2B5EF4-FFF2-40B4-BE49-F238E27FC236}">
                <a16:creationId xmlns:a16="http://schemas.microsoft.com/office/drawing/2014/main" id="{E8AE7F14-3DDB-7A5C-2F2E-CE4AF1428874}"/>
              </a:ext>
            </a:extLst>
          </p:cNvPr>
          <p:cNvSpPr/>
          <p:nvPr userDrawn="1"/>
        </p:nvSpPr>
        <p:spPr bwMode="auto">
          <a:xfrm>
            <a:off x="-825681" y="2774414"/>
            <a:ext cx="485228" cy="485228"/>
          </a:xfrm>
          <a:prstGeom prst="rect">
            <a:avLst/>
          </a:prstGeom>
          <a:solidFill>
            <a:srgbClr val="AB1254"/>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Tree>
    <p:extLst>
      <p:ext uri="{BB962C8B-B14F-4D97-AF65-F5344CB8AC3E}">
        <p14:creationId xmlns:p14="http://schemas.microsoft.com/office/powerpoint/2010/main" val="33396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6" name="Title 15"/>
          <p:cNvSpPr>
            <a:spLocks noGrp="1"/>
          </p:cNvSpPr>
          <p:nvPr>
            <p:ph type="title"/>
          </p:nvPr>
        </p:nvSpPr>
        <p:spPr>
          <a:xfrm>
            <a:off x="335402" y="332657"/>
            <a:ext cx="9963364" cy="792088"/>
          </a:xfrm>
        </p:spPr>
        <p:txBody>
          <a:bodyPr/>
          <a:lstStyle>
            <a:lvl1pPr>
              <a:defRPr b="1"/>
            </a:lvl1pPr>
          </a:lstStyle>
          <a:p>
            <a:r>
              <a:rPr lang="en-US"/>
              <a:t>Click to edit Master title style</a:t>
            </a:r>
            <a:endParaRPr lang="en-GB"/>
          </a:p>
        </p:txBody>
      </p:sp>
    </p:spTree>
    <p:extLst>
      <p:ext uri="{BB962C8B-B14F-4D97-AF65-F5344CB8AC3E}">
        <p14:creationId xmlns:p14="http://schemas.microsoft.com/office/powerpoint/2010/main" val="221434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206680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8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p:nvCxnSpPr>
        <p:spPr>
          <a:xfrm flipH="1">
            <a:off x="6096000" y="1390489"/>
            <a:ext cx="293" cy="3574809"/>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4488F957-08BE-4C69-9E18-FBDADBD1D083}" type="slidenum">
              <a:rPr lang="en-GB" smtClean="0"/>
              <a:t>‹#›</a:t>
            </a:fld>
            <a:endParaRPr lang="en-GB"/>
          </a:p>
        </p:txBody>
      </p:sp>
      <p:sp>
        <p:nvSpPr>
          <p:cNvPr id="8" name="Rectangle 7">
            <a:extLst>
              <a:ext uri="{FF2B5EF4-FFF2-40B4-BE49-F238E27FC236}">
                <a16:creationId xmlns:a16="http://schemas.microsoft.com/office/drawing/2014/main" id="{AC498C3F-9140-AC74-4CAB-ACBC97B46199}"/>
              </a:ext>
            </a:extLst>
          </p:cNvPr>
          <p:cNvSpPr/>
          <p:nvPr userDrawn="1"/>
        </p:nvSpPr>
        <p:spPr>
          <a:xfrm>
            <a:off x="667266" y="435170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18">
            <a:extLst>
              <a:ext uri="{FF2B5EF4-FFF2-40B4-BE49-F238E27FC236}">
                <a16:creationId xmlns:a16="http://schemas.microsoft.com/office/drawing/2014/main" id="{73459AC8-D2EF-937E-216D-B692E688CFF7}"/>
              </a:ext>
            </a:extLst>
          </p:cNvPr>
          <p:cNvSpPr>
            <a:spLocks noGrp="1"/>
          </p:cNvSpPr>
          <p:nvPr>
            <p:ph type="body" sz="quarter" idx="27" hasCustomPrompt="1"/>
          </p:nvPr>
        </p:nvSpPr>
        <p:spPr>
          <a:xfrm>
            <a:off x="998953" y="457304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Rectangle 9">
            <a:extLst>
              <a:ext uri="{FF2B5EF4-FFF2-40B4-BE49-F238E27FC236}">
                <a16:creationId xmlns:a16="http://schemas.microsoft.com/office/drawing/2014/main" id="{D4EBFCEC-024C-B20C-020B-1FC7580AA1D8}"/>
              </a:ext>
            </a:extLst>
          </p:cNvPr>
          <p:cNvSpPr/>
          <p:nvPr userDrawn="1"/>
        </p:nvSpPr>
        <p:spPr>
          <a:xfrm>
            <a:off x="6225303" y="435170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1" name="Text Placeholder 18">
            <a:extLst>
              <a:ext uri="{FF2B5EF4-FFF2-40B4-BE49-F238E27FC236}">
                <a16:creationId xmlns:a16="http://schemas.microsoft.com/office/drawing/2014/main" id="{2B8C3241-F40F-526D-2703-1F9CEECEBA45}"/>
              </a:ext>
            </a:extLst>
          </p:cNvPr>
          <p:cNvSpPr>
            <a:spLocks noGrp="1"/>
          </p:cNvSpPr>
          <p:nvPr>
            <p:ph type="body" sz="quarter" idx="28" hasCustomPrompt="1"/>
          </p:nvPr>
        </p:nvSpPr>
        <p:spPr>
          <a:xfrm>
            <a:off x="6346915" y="456129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189869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7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2653205"/>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58597" y="3987797"/>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p:nvSpPr>
        <p:spPr>
          <a:xfrm>
            <a:off x="7042246" y="3080"/>
            <a:ext cx="5149755"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p:nvSpPr>
        <p:spPr>
          <a:xfrm>
            <a:off x="285530" y="1657331"/>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p:nvSpPr>
        <p:spPr>
          <a:xfrm>
            <a:off x="269499" y="2970060"/>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p:nvSpPr>
        <p:spPr>
          <a:xfrm>
            <a:off x="252340" y="4304651"/>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00472" y="300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60009" y="4363559"/>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7870475" y="40127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p:nvCxnSpPr>
        <p:spPr>
          <a:xfrm>
            <a:off x="7870475" y="1279701"/>
            <a:ext cx="3585570" cy="0"/>
          </a:xfrm>
          <a:prstGeom prst="line">
            <a:avLst/>
          </a:prstGeom>
          <a:noFill/>
          <a:ln w="6350" cap="flat" cmpd="sng" algn="ctr">
            <a:solidFill>
              <a:schemeClr val="bg1"/>
            </a:solidFill>
            <a:prstDash val="solid"/>
          </a:ln>
          <a:effectLst/>
        </p:spPr>
      </p:cxnSp>
      <p:sp>
        <p:nvSpPr>
          <p:cNvPr id="25" name="Rectangle 24">
            <a:extLst>
              <a:ext uri="{FF2B5EF4-FFF2-40B4-BE49-F238E27FC236}">
                <a16:creationId xmlns:a16="http://schemas.microsoft.com/office/drawing/2014/main" id="{EF220506-BCD9-2A32-3BDC-948428A54096}"/>
              </a:ext>
            </a:extLst>
          </p:cNvPr>
          <p:cNvSpPr/>
          <p:nvPr userDrawn="1"/>
        </p:nvSpPr>
        <p:spPr>
          <a:xfrm>
            <a:off x="558597" y="5331436"/>
            <a:ext cx="1800000" cy="1260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6" name="Oval 25">
            <a:extLst>
              <a:ext uri="{FF2B5EF4-FFF2-40B4-BE49-F238E27FC236}">
                <a16:creationId xmlns:a16="http://schemas.microsoft.com/office/drawing/2014/main" id="{A7F470AA-CF24-A480-0A86-4ED666F45F32}"/>
              </a:ext>
            </a:extLst>
          </p:cNvPr>
          <p:cNvSpPr/>
          <p:nvPr userDrawn="1"/>
        </p:nvSpPr>
        <p:spPr>
          <a:xfrm>
            <a:off x="252340" y="5648290"/>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4</a:t>
            </a:r>
          </a:p>
        </p:txBody>
      </p:sp>
      <p:sp>
        <p:nvSpPr>
          <p:cNvPr id="27" name="Text Placeholder 35">
            <a:extLst>
              <a:ext uri="{FF2B5EF4-FFF2-40B4-BE49-F238E27FC236}">
                <a16:creationId xmlns:a16="http://schemas.microsoft.com/office/drawing/2014/main" id="{CA95675E-327A-FF1F-B2AB-E6A799303B0E}"/>
              </a:ext>
            </a:extLst>
          </p:cNvPr>
          <p:cNvSpPr>
            <a:spLocks noGrp="1"/>
          </p:cNvSpPr>
          <p:nvPr>
            <p:ph type="body" sz="quarter" idx="22"/>
          </p:nvPr>
        </p:nvSpPr>
        <p:spPr>
          <a:xfrm>
            <a:off x="960009" y="5707198"/>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74563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three column">
    <p:bg>
      <p:bgPr>
        <a:solidFill>
          <a:srgbClr val="FFFFFF"/>
        </a:solidFill>
        <a:effectLst/>
      </p:bgPr>
    </p:bg>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9A00E4B8-CEB3-B483-8084-0CB45D0B39DF}"/>
              </a:ext>
            </a:extLst>
          </p:cNvPr>
          <p:cNvSpPr>
            <a:spLocks noGrp="1"/>
          </p:cNvSpPr>
          <p:nvPr>
            <p:ph type="pic" sz="quarter" idx="19"/>
          </p:nvPr>
        </p:nvSpPr>
        <p:spPr>
          <a:xfrm>
            <a:off x="4587033" y="1511095"/>
            <a:ext cx="482096" cy="543111"/>
          </a:xfrm>
          <a:prstGeom prst="rect">
            <a:avLst/>
          </a:prstGeom>
        </p:spPr>
        <p:txBody>
          <a:bodyPr/>
          <a:lstStyle/>
          <a:p>
            <a:endParaRPr lang="en-GB"/>
          </a:p>
        </p:txBody>
      </p:sp>
      <p:sp>
        <p:nvSpPr>
          <p:cNvPr id="26" name="object 22">
            <a:extLst>
              <a:ext uri="{FF2B5EF4-FFF2-40B4-BE49-F238E27FC236}">
                <a16:creationId xmlns:a16="http://schemas.microsoft.com/office/drawing/2014/main" id="{78A5858E-C769-A11B-5873-B66759919939}"/>
              </a:ext>
            </a:extLst>
          </p:cNvPr>
          <p:cNvSpPr/>
          <p:nvPr userDrawn="1"/>
        </p:nvSpPr>
        <p:spPr>
          <a:xfrm>
            <a:off x="4247560" y="3375313"/>
            <a:ext cx="27724"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51879" y="3375313"/>
            <a:ext cx="46350"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8" name="Picture Placeholder 34">
            <a:extLst>
              <a:ext uri="{FF2B5EF4-FFF2-40B4-BE49-F238E27FC236}">
                <a16:creationId xmlns:a16="http://schemas.microsoft.com/office/drawing/2014/main" id="{E36C9282-1EDA-1F80-29A0-FEE2778546E0}"/>
              </a:ext>
            </a:extLst>
          </p:cNvPr>
          <p:cNvSpPr>
            <a:spLocks noGrp="1"/>
          </p:cNvSpPr>
          <p:nvPr>
            <p:ph type="pic" sz="quarter" idx="21"/>
          </p:nvPr>
        </p:nvSpPr>
        <p:spPr>
          <a:xfrm>
            <a:off x="8262416" y="1511022"/>
            <a:ext cx="482096" cy="543111"/>
          </a:xfrm>
          <a:prstGeom prst="rect">
            <a:avLst/>
          </a:prstGeom>
        </p:spPr>
        <p:txBody>
          <a:bodyPr/>
          <a:lstStyle/>
          <a:p>
            <a:endParaRPr lang="en-GB"/>
          </a:p>
        </p:txBody>
      </p:sp>
      <p:sp>
        <p:nvSpPr>
          <p:cNvPr id="29" name="Picture Placeholder 34">
            <a:extLst>
              <a:ext uri="{FF2B5EF4-FFF2-40B4-BE49-F238E27FC236}">
                <a16:creationId xmlns:a16="http://schemas.microsoft.com/office/drawing/2014/main" id="{167AFF17-7D7A-AAEA-E29A-982667C116D6}"/>
              </a:ext>
            </a:extLst>
          </p:cNvPr>
          <p:cNvSpPr>
            <a:spLocks noGrp="1"/>
          </p:cNvSpPr>
          <p:nvPr>
            <p:ph type="pic" sz="quarter" idx="22"/>
          </p:nvPr>
        </p:nvSpPr>
        <p:spPr>
          <a:xfrm>
            <a:off x="586775" y="1510950"/>
            <a:ext cx="482096" cy="543111"/>
          </a:xfrm>
          <a:prstGeom prst="rect">
            <a:avLst/>
          </a:prstGeom>
        </p:spPr>
        <p:txBody>
          <a:bodyPr/>
          <a:lstStyle/>
          <a:p>
            <a:endParaRPr lang="en-GB"/>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2261810"/>
            <a:ext cx="2987422" cy="813733"/>
          </a:xfrm>
          <a:prstGeom prst="rect">
            <a:avLst/>
          </a:prstGeom>
        </p:spPr>
        <p:txBody>
          <a:bodyPr lIns="0"/>
          <a:lstStyle>
            <a:lvl1pPr>
              <a:lnSpc>
                <a:spcPct val="90000"/>
              </a:lnSpc>
              <a:defRPr lang="en-GB" sz="5821"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2261811"/>
            <a:ext cx="2987422" cy="757275"/>
          </a:xfrm>
          <a:prstGeom prst="rect">
            <a:avLst/>
          </a:prstGeom>
        </p:spPr>
        <p:txBody>
          <a:bodyPr lIns="0"/>
          <a:lstStyle>
            <a:lvl1pPr>
              <a:lnSpc>
                <a:spcPts val="5701"/>
              </a:lnSpc>
              <a:defRPr lang="en-GB" sz="5821"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3353230"/>
            <a:ext cx="3325320"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3353229"/>
            <a:ext cx="2987422"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3353228"/>
            <a:ext cx="2987422" cy="1346454"/>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87349530-C6CD-7B16-253D-AF41238D6664}"/>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Text Placeholder 8">
            <a:extLst>
              <a:ext uri="{FF2B5EF4-FFF2-40B4-BE49-F238E27FC236}">
                <a16:creationId xmlns:a16="http://schemas.microsoft.com/office/drawing/2014/main" id="{0F5D5893-5338-F751-A97F-AAB40E8A5F19}"/>
              </a:ext>
            </a:extLst>
          </p:cNvPr>
          <p:cNvSpPr>
            <a:spLocks noGrp="1"/>
          </p:cNvSpPr>
          <p:nvPr>
            <p:ph type="body" sz="quarter" idx="28" hasCustomPrompt="1"/>
          </p:nvPr>
        </p:nvSpPr>
        <p:spPr>
          <a:xfrm>
            <a:off x="586775" y="2261809"/>
            <a:ext cx="2987422" cy="813733"/>
          </a:xfrm>
          <a:prstGeom prst="rect">
            <a:avLst/>
          </a:prstGeom>
          <a:noFill/>
        </p:spPr>
        <p:txBody>
          <a:bodyPr lIns="0"/>
          <a:lstStyle>
            <a:lvl1pPr>
              <a:defRPr lang="en-GB" sz="5821" b="1" i="0" spc="-85" dirty="0">
                <a:gradFill flip="none" rotWithShape="1">
                  <a:gsLst>
                    <a:gs pos="0">
                      <a:srgbClr val="007C43"/>
                    </a:gs>
                    <a:gs pos="70000">
                      <a:srgbClr val="68A445"/>
                    </a:gs>
                  </a:gsLst>
                  <a:lin ang="0" scaled="1"/>
                  <a:tileRect/>
                </a:gradFill>
                <a:latin typeface="Poppins"/>
                <a:ea typeface="+mj-ea"/>
                <a:cs typeface="Poppins"/>
              </a:defRPr>
            </a:lvl1pPr>
          </a:lstStyle>
          <a:p>
            <a:pPr lvl="0">
              <a:lnSpc>
                <a:spcPct val="90000"/>
              </a:lnSpc>
            </a:pPr>
            <a:r>
              <a:rPr lang="en-GB"/>
              <a:t>edit</a:t>
            </a:r>
          </a:p>
        </p:txBody>
      </p:sp>
    </p:spTree>
    <p:extLst>
      <p:ext uri="{BB962C8B-B14F-4D97-AF65-F5344CB8AC3E}">
        <p14:creationId xmlns:p14="http://schemas.microsoft.com/office/powerpoint/2010/main" val="356141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332">
          <p15:clr>
            <a:srgbClr val="FBAE40"/>
          </p15:clr>
        </p15:guide>
        <p15:guide id="3" orient="horz" pos="977">
          <p15:clr>
            <a:srgbClr val="FBAE40"/>
          </p15:clr>
        </p15:guide>
        <p15:guide id="4" orient="horz" pos="358">
          <p15:clr>
            <a:srgbClr val="FBAE40"/>
          </p15:clr>
        </p15:guide>
        <p15:guide id="5" orient="horz" pos="659">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pPr defTabSz="554500"/>
            <a:fld id="{B6F15528-21DE-4FAA-801E-634DDDAF4B2B}" type="slidenum">
              <a:rPr lang="en-GB" smtClean="0"/>
              <a:pPr defTabSz="554500"/>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835439" y="733908"/>
            <a:ext cx="7848172" cy="1746189"/>
          </a:xfrm>
          <a:prstGeom prst="rect">
            <a:avLst/>
          </a:prstGeom>
        </p:spPr>
        <p:txBody>
          <a:bodyPr/>
          <a:lstStyle>
            <a:lvl1pPr>
              <a:lnSpc>
                <a:spcPct val="114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6575" y="2868555"/>
            <a:ext cx="7750287" cy="3875178"/>
          </a:xfrm>
          <a:prstGeom prst="rect">
            <a:avLst/>
          </a:prstGeom>
        </p:spPr>
      </p:pic>
    </p:spTree>
    <p:extLst>
      <p:ext uri="{BB962C8B-B14F-4D97-AF65-F5344CB8AC3E}">
        <p14:creationId xmlns:p14="http://schemas.microsoft.com/office/powerpoint/2010/main" val="356113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7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DF20CCF3-9156-D926-F84F-D470725DF3D2}"/>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8A82D6C9-0A3E-D4C7-84D3-41D2A71FD1C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13" name="Slide Number Placeholder 5">
            <a:extLst>
              <a:ext uri="{FF2B5EF4-FFF2-40B4-BE49-F238E27FC236}">
                <a16:creationId xmlns:a16="http://schemas.microsoft.com/office/drawing/2014/main" id="{8A57EA9F-2A47-A87E-1720-9E7CC05B1A7B}"/>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cxnSp>
        <p:nvCxnSpPr>
          <p:cNvPr id="16" name="Straight Connector 15">
            <a:extLst>
              <a:ext uri="{FF2B5EF4-FFF2-40B4-BE49-F238E27FC236}">
                <a16:creationId xmlns:a16="http://schemas.microsoft.com/office/drawing/2014/main" id="{A15E68E5-C053-520D-8A33-C485E1FE3A87}"/>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C6CC28E-78C3-C9D5-FF1F-A09A2F3B04BC}"/>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2" name="Picture 1" descr="A picture containing drawing, mug&#10;&#10;Description automatically generated">
            <a:extLst>
              <a:ext uri="{FF2B5EF4-FFF2-40B4-BE49-F238E27FC236}">
                <a16:creationId xmlns:a16="http://schemas.microsoft.com/office/drawing/2014/main" id="{82BB44BE-6B34-9AB0-FE5B-78F5DF030ED5}"/>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120777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343">
          <p15:clr>
            <a:srgbClr val="FBAE40"/>
          </p15:clr>
        </p15:guide>
        <p15:guide id="2" pos="322">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6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cxnSp>
        <p:nvCxnSpPr>
          <p:cNvPr id="6" name="Straight Connector 5">
            <a:extLst>
              <a:ext uri="{FF2B5EF4-FFF2-40B4-BE49-F238E27FC236}">
                <a16:creationId xmlns:a16="http://schemas.microsoft.com/office/drawing/2014/main" id="{77F2C252-69F3-8DE3-9263-99BEB7E1FC0C}"/>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BB9290D-B448-9B85-8A16-87F160654C5D}"/>
              </a:ext>
            </a:extLst>
          </p:cNvPr>
          <p:cNvPicPr>
            <a:picLocks noChangeAspect="1"/>
          </p:cNvPicPr>
          <p:nvPr userDrawn="1"/>
        </p:nvPicPr>
        <p:blipFill rotWithShape="1">
          <a:blip r:embed="rId3"/>
          <a:srcRect r="72014"/>
          <a:stretch/>
        </p:blipFill>
        <p:spPr>
          <a:xfrm>
            <a:off x="10858966" y="294851"/>
            <a:ext cx="998464" cy="559351"/>
          </a:xfrm>
          <a:prstGeom prst="rect">
            <a:avLst/>
          </a:prstGeom>
        </p:spPr>
      </p:pic>
      <p:pic>
        <p:nvPicPr>
          <p:cNvPr id="5" name="Picture 4" descr="A picture containing drawing, mug&#10;&#10;Description automatically generated">
            <a:extLst>
              <a:ext uri="{FF2B5EF4-FFF2-40B4-BE49-F238E27FC236}">
                <a16:creationId xmlns:a16="http://schemas.microsoft.com/office/drawing/2014/main" id="{2CD0FD93-5CA8-5164-8E5C-4199F697B90B}"/>
              </a:ext>
            </a:extLst>
          </p:cNvPr>
          <p:cNvPicPr>
            <a:picLocks/>
          </p:cNvPicPr>
          <p:nvPr userDrawn="1"/>
        </p:nvPicPr>
        <p:blipFill>
          <a:blip r:embed="rId4"/>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39899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4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572353-3B90-85FD-4207-F5B30A1939E0}"/>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cxnSp>
        <p:nvCxnSpPr>
          <p:cNvPr id="8" name="Straight Connector 7">
            <a:extLst>
              <a:ext uri="{FF2B5EF4-FFF2-40B4-BE49-F238E27FC236}">
                <a16:creationId xmlns:a16="http://schemas.microsoft.com/office/drawing/2014/main" id="{B9E7F049-44AC-9B69-2645-82E87F273F0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8D9852C-F9FC-63C9-C3FF-6FD59964BFEB}"/>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10" name="Picture 5">
            <a:extLst>
              <a:ext uri="{FF2B5EF4-FFF2-40B4-BE49-F238E27FC236}">
                <a16:creationId xmlns:a16="http://schemas.microsoft.com/office/drawing/2014/main" id="{3534F840-14E3-0D12-8D44-C595582B3510}"/>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98240" y="387119"/>
            <a:ext cx="1841745" cy="348424"/>
          </a:xfrm>
          <a:prstGeom prst="rect">
            <a:avLst/>
          </a:prstGeom>
        </p:spPr>
      </p:pic>
    </p:spTree>
    <p:extLst>
      <p:ext uri="{BB962C8B-B14F-4D97-AF65-F5344CB8AC3E}">
        <p14:creationId xmlns:p14="http://schemas.microsoft.com/office/powerpoint/2010/main" val="367610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35_Chapter Start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4AA5843-B055-D998-F097-A1537764C5B5}"/>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507D203-0659-060B-A109-6C6D4F21CE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11" name="Picture 10" descr="BlackRock, Inc. - Home">
            <a:extLst>
              <a:ext uri="{FF2B5EF4-FFF2-40B4-BE49-F238E27FC236}">
                <a16:creationId xmlns:a16="http://schemas.microsoft.com/office/drawing/2014/main" id="{5EB5B61A-63A3-8E67-A9C0-1A8B438A66AF}"/>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302B3981-1619-9083-B073-5589483D10C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442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4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5A4006C-DF1B-E00E-4F89-DF22DA055E34}"/>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3" name="Picture 2">
            <a:extLst>
              <a:ext uri="{FF2B5EF4-FFF2-40B4-BE49-F238E27FC236}">
                <a16:creationId xmlns:a16="http://schemas.microsoft.com/office/drawing/2014/main" id="{5CD12995-9AB2-2DF7-6828-597238F4AD3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6AF04327-60CF-AAB0-564C-BA7F7C5B8EC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CA8D98F1-3011-C210-E119-381659C407AE}"/>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16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33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723453-4BF8-DC02-BA29-7239F7C6BE75}"/>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4" name="Picture 3">
            <a:extLst>
              <a:ext uri="{FF2B5EF4-FFF2-40B4-BE49-F238E27FC236}">
                <a16:creationId xmlns:a16="http://schemas.microsoft.com/office/drawing/2014/main" id="{E649B12E-9843-3F26-E012-97900259CF1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3EF1D38F-CB52-9161-2FB4-9EFE58765C9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D0A7E7A0-9F83-01E6-EA26-9AAA28796359}"/>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85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136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32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5" name="Picture 4">
            <a:extLst>
              <a:ext uri="{FF2B5EF4-FFF2-40B4-BE49-F238E27FC236}">
                <a16:creationId xmlns:a16="http://schemas.microsoft.com/office/drawing/2014/main" id="{88411688-3C97-082E-3382-2D069C35F9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6" name="Picture 5" descr="BlackRock, Inc. - Home">
            <a:extLst>
              <a:ext uri="{FF2B5EF4-FFF2-40B4-BE49-F238E27FC236}">
                <a16:creationId xmlns:a16="http://schemas.microsoft.com/office/drawing/2014/main" id="{3445CC0D-823A-E6A3-01DF-768572D8A385}"/>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742C7914-BB17-F611-E2E9-FEB35C4A4F49}"/>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311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31_Chapter Star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250C662-F84D-E37B-CD13-8305CD4496D2}"/>
              </a:ext>
            </a:extLst>
          </p:cNvPr>
          <p:cNvSpPr/>
          <p:nvPr userDrawn="1"/>
        </p:nvSpPr>
        <p:spPr>
          <a:xfrm>
            <a:off x="-168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A1B8654C-C46B-7C54-4A16-2009FD404D0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7" name="Picture 6" descr="BlackRock, Inc. - Home">
            <a:extLst>
              <a:ext uri="{FF2B5EF4-FFF2-40B4-BE49-F238E27FC236}">
                <a16:creationId xmlns:a16="http://schemas.microsoft.com/office/drawing/2014/main" id="{CF7BACAD-9822-4A4D-FAFA-EFA12FFF4C7B}"/>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413342D2-F3E8-FE90-2140-4B722A98D04E}"/>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41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183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1" name="Oval 10">
            <a:extLst>
              <a:ext uri="{FF2B5EF4-FFF2-40B4-BE49-F238E27FC236}">
                <a16:creationId xmlns:a16="http://schemas.microsoft.com/office/drawing/2014/main" id="{E7C2BD54-B084-542F-B0DB-CE318B792B28}"/>
              </a:ext>
            </a:extLst>
          </p:cNvPr>
          <p:cNvSpPr/>
          <p:nvPr userDrawn="1"/>
        </p:nvSpPr>
        <p:spPr>
          <a:xfrm>
            <a:off x="5768254" y="1455291"/>
            <a:ext cx="654907" cy="65491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10" name="Graphic 9" descr="Boardroom with solid fill">
            <a:extLst>
              <a:ext uri="{FF2B5EF4-FFF2-40B4-BE49-F238E27FC236}">
                <a16:creationId xmlns:a16="http://schemas.microsoft.com/office/drawing/2014/main" id="{49B758D5-BD34-8ECC-568C-BA3AEB7F5E0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8756" y="1505501"/>
            <a:ext cx="554488" cy="554493"/>
          </a:xfrm>
          <a:prstGeom prst="rect">
            <a:avLst/>
          </a:prstGeom>
        </p:spPr>
      </p:pic>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ct 2" hidden="1"/>
                      <p:cNvPicPr/>
                      <p:nvPr/>
                    </p:nvPicPr>
                    <p:blipFill>
                      <a:blip r:embed="rId7"/>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EF8963E4-489E-8A1B-3A7D-4F87405F4B04}"/>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5795BC-755B-D3CF-7881-3A95DC81633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6EE80FDC-B1BC-B214-73E7-BE912ECED8F4}"/>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29" name="Slide Number Placeholder 5">
            <a:extLst>
              <a:ext uri="{FF2B5EF4-FFF2-40B4-BE49-F238E27FC236}">
                <a16:creationId xmlns:a16="http://schemas.microsoft.com/office/drawing/2014/main" id="{27972B21-43B1-B367-3A0A-7A6C98117CDA}"/>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pic>
        <p:nvPicPr>
          <p:cNvPr id="5" name="Picture 5">
            <a:extLst>
              <a:ext uri="{FF2B5EF4-FFF2-40B4-BE49-F238E27FC236}">
                <a16:creationId xmlns:a16="http://schemas.microsoft.com/office/drawing/2014/main" id="{B4765F46-99EA-EA78-F3AB-61548F32862F}"/>
              </a:ext>
              <a:ext uri="{C183D7F6-B498-43B3-948B-1728B52AA6E4}">
                <adec:decorative xmlns:adec="http://schemas.microsoft.com/office/drawing/2017/decorative" val="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898240" y="387119"/>
            <a:ext cx="1841745" cy="348424"/>
          </a:xfrm>
          <a:prstGeom prst="rect">
            <a:avLst/>
          </a:prstGeom>
        </p:spPr>
      </p:pic>
      <p:pic>
        <p:nvPicPr>
          <p:cNvPr id="9" name="Picture 8">
            <a:extLst>
              <a:ext uri="{FF2B5EF4-FFF2-40B4-BE49-F238E27FC236}">
                <a16:creationId xmlns:a16="http://schemas.microsoft.com/office/drawing/2014/main" id="{06C51664-BF7F-377E-824A-B63222420887}"/>
              </a:ext>
            </a:extLst>
          </p:cNvPr>
          <p:cNvPicPr>
            <a:picLocks noChangeAspect="1"/>
          </p:cNvPicPr>
          <p:nvPr userDrawn="1"/>
        </p:nvPicPr>
        <p:blipFill rotWithShape="1">
          <a:blip r:embed="rId9"/>
          <a:srcRect r="72014"/>
          <a:stretch/>
        </p:blipFill>
        <p:spPr>
          <a:xfrm>
            <a:off x="10858966" y="294851"/>
            <a:ext cx="998464" cy="559351"/>
          </a:xfrm>
          <a:prstGeom prst="rect">
            <a:avLst/>
          </a:prstGeom>
        </p:spPr>
      </p:pic>
    </p:spTree>
    <p:extLst>
      <p:ext uri="{BB962C8B-B14F-4D97-AF65-F5344CB8AC3E}">
        <p14:creationId xmlns:p14="http://schemas.microsoft.com/office/powerpoint/2010/main" val="28385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173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cxnSp>
        <p:nvCxnSpPr>
          <p:cNvPr id="25" name="Straight Connector 24">
            <a:extLst>
              <a:ext uri="{FF2B5EF4-FFF2-40B4-BE49-F238E27FC236}">
                <a16:creationId xmlns:a16="http://schemas.microsoft.com/office/drawing/2014/main" id="{DEDAE957-4378-A9F8-A5F3-27F26CFEEE94}"/>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0C56207A-A9EF-0BEA-FFB0-EFD3361D7F3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920207" y="321634"/>
            <a:ext cx="952167" cy="482610"/>
          </a:xfrm>
          <a:prstGeom prst="rect">
            <a:avLst/>
          </a:prstGeom>
        </p:spPr>
      </p:pic>
      <p:pic>
        <p:nvPicPr>
          <p:cNvPr id="29" name="Picture 28" descr="BlackRock, Inc. - Home">
            <a:extLst>
              <a:ext uri="{FF2B5EF4-FFF2-40B4-BE49-F238E27FC236}">
                <a16:creationId xmlns:a16="http://schemas.microsoft.com/office/drawing/2014/main" id="{D9135081-BA53-3B82-1994-72288F0F6C32}"/>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2411"/>
          <a:stretch/>
        </p:blipFill>
        <p:spPr bwMode="auto">
          <a:xfrm>
            <a:off x="9076870" y="431392"/>
            <a:ext cx="1623559" cy="23648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a:extLst>
              <a:ext uri="{FF2B5EF4-FFF2-40B4-BE49-F238E27FC236}">
                <a16:creationId xmlns:a16="http://schemas.microsoft.com/office/drawing/2014/main" id="{9201F383-20DB-6D63-70D0-4DCF814199C2}"/>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Slide Number Placeholder 5">
            <a:extLst>
              <a:ext uri="{FF2B5EF4-FFF2-40B4-BE49-F238E27FC236}">
                <a16:creationId xmlns:a16="http://schemas.microsoft.com/office/drawing/2014/main" id="{711CEE0A-66EA-E150-4D19-45A96DC4072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35" name="Slide Number Placeholder 5">
            <a:extLst>
              <a:ext uri="{FF2B5EF4-FFF2-40B4-BE49-F238E27FC236}">
                <a16:creationId xmlns:a16="http://schemas.microsoft.com/office/drawing/2014/main" id="{FE1FE784-B03D-27C0-E624-9A625A809C70}"/>
              </a:ext>
            </a:extLst>
          </p:cNvPr>
          <p:cNvSpPr txBox="1">
            <a:spLocks/>
          </p:cNvSpPr>
          <p:nvPr userDrawn="1"/>
        </p:nvSpPr>
        <p:spPr>
          <a:xfrm>
            <a:off x="319626"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l"/>
            <a:r>
              <a:rPr lang="en-GB" sz="970">
                <a:latin typeface="Poppins" panose="00000500000000000000" pitchFamily="2" charset="0"/>
                <a:cs typeface="Poppins" panose="00000500000000000000" pitchFamily="2" charset="0"/>
              </a:rPr>
              <a:t>28 March 2023</a:t>
            </a:r>
          </a:p>
        </p:txBody>
      </p:sp>
      <p:sp>
        <p:nvSpPr>
          <p:cNvPr id="36" name="Slide Number Placeholder 5">
            <a:extLst>
              <a:ext uri="{FF2B5EF4-FFF2-40B4-BE49-F238E27FC236}">
                <a16:creationId xmlns:a16="http://schemas.microsoft.com/office/drawing/2014/main" id="{30D24574-4C69-ECCD-F677-B33CA2F7E153}"/>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spTree>
    <p:extLst>
      <p:ext uri="{BB962C8B-B14F-4D97-AF65-F5344CB8AC3E}">
        <p14:creationId xmlns:p14="http://schemas.microsoft.com/office/powerpoint/2010/main" val="44704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9_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white right half">
            <a:extLst>
              <a:ext uri="{FF2B5EF4-FFF2-40B4-BE49-F238E27FC236}">
                <a16:creationId xmlns:a16="http://schemas.microsoft.com/office/drawing/2014/main" id="{747CFB75-7D71-23BC-3385-9E2DF23DDCC2}"/>
              </a:ext>
            </a:extLst>
          </p:cNvPr>
          <p:cNvSpPr/>
          <p:nvPr/>
        </p:nvSpPr>
        <p:spPr>
          <a:xfrm>
            <a:off x="8131576" y="1534099"/>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7" y="1534484"/>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966336"/>
            <a:ext cx="3130547"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4" y="2661046"/>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7" y="1840379"/>
            <a:ext cx="3096045"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4" y="1840379"/>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4" y="297553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4" y="367761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4" y="399210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4" y="469418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4" y="5008679"/>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4" y="5710758"/>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4" y="602524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237864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6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 name="Straight Connector 1">
            <a:extLst>
              <a:ext uri="{FF2B5EF4-FFF2-40B4-BE49-F238E27FC236}">
                <a16:creationId xmlns:a16="http://schemas.microsoft.com/office/drawing/2014/main" id="{34AE5EE2-69A9-C49B-80FB-D8A1465DBA96}"/>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B3E38699-A0BF-B517-AB6A-3FF2A7EC7CB4}"/>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5" name="Picture 4" descr="A picture containing drawing, mug&#10;&#10;Description automatically generated">
            <a:extLst>
              <a:ext uri="{FF2B5EF4-FFF2-40B4-BE49-F238E27FC236}">
                <a16:creationId xmlns:a16="http://schemas.microsoft.com/office/drawing/2014/main" id="{09B320F9-544C-BA8B-D64C-0392C864CFA7}"/>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28387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5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 name="Straight Connector 3">
            <a:extLst>
              <a:ext uri="{FF2B5EF4-FFF2-40B4-BE49-F238E27FC236}">
                <a16:creationId xmlns:a16="http://schemas.microsoft.com/office/drawing/2014/main" id="{DF20CCF3-9156-D926-F84F-D470725DF3D2}"/>
              </a:ext>
            </a:extLst>
          </p:cNvPr>
          <p:cNvCxnSpPr>
            <a:cxnSpLocks/>
          </p:cNvCxnSpPr>
          <p:nvPr userDrawn="1"/>
        </p:nvCxnSpPr>
        <p:spPr>
          <a:xfrm flipH="1">
            <a:off x="11336201" y="6461884"/>
            <a:ext cx="54674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8A82D6C9-0A3E-D4C7-84D3-41D2A71FD1C3}"/>
              </a:ext>
            </a:extLst>
          </p:cNvPr>
          <p:cNvSpPr>
            <a:spLocks noGrp="1"/>
          </p:cNvSpPr>
          <p:nvPr>
            <p:ph type="sldNum" sz="quarter" idx="4"/>
          </p:nvPr>
        </p:nvSpPr>
        <p:spPr>
          <a:xfrm>
            <a:off x="11336201" y="6526702"/>
            <a:ext cx="536173" cy="149309"/>
          </a:xfrm>
          <a:prstGeom prst="rect">
            <a:avLst/>
          </a:prstGeom>
        </p:spPr>
        <p:txBody>
          <a:bodyPr vert="horz" lIns="0" tIns="0" rIns="0" bIns="0" rtlCol="0" anchor="ctr"/>
          <a:lstStyle>
            <a:lvl1pPr algn="r">
              <a:defRPr sz="970">
                <a:solidFill>
                  <a:schemeClr val="tx1"/>
                </a:solidFill>
                <a:latin typeface="Poppins" panose="00000500000000000000" pitchFamily="2" charset="0"/>
                <a:cs typeface="Poppins" panose="00000500000000000000" pitchFamily="2" charset="0"/>
              </a:defRPr>
            </a:lvl1pPr>
          </a:lstStyle>
          <a:p>
            <a:fld id="{04A6DFD0-A633-4A6A-876A-343AA8592D07}" type="slidenum">
              <a:rPr lang="en-GB" smtClean="0"/>
              <a:pPr/>
              <a:t>‹#›</a:t>
            </a:fld>
            <a:endParaRPr lang="en-GB"/>
          </a:p>
        </p:txBody>
      </p:sp>
      <p:sp>
        <p:nvSpPr>
          <p:cNvPr id="13" name="Slide Number Placeholder 5">
            <a:extLst>
              <a:ext uri="{FF2B5EF4-FFF2-40B4-BE49-F238E27FC236}">
                <a16:creationId xmlns:a16="http://schemas.microsoft.com/office/drawing/2014/main" id="{8A57EA9F-2A47-A87E-1720-9E7CC05B1A7B}"/>
              </a:ext>
            </a:extLst>
          </p:cNvPr>
          <p:cNvSpPr txBox="1">
            <a:spLocks/>
          </p:cNvSpPr>
          <p:nvPr userDrawn="1"/>
        </p:nvSpPr>
        <p:spPr>
          <a:xfrm>
            <a:off x="5498351" y="6526719"/>
            <a:ext cx="1195299" cy="149272"/>
          </a:xfrm>
          <a:prstGeom prst="rect">
            <a:avLst/>
          </a:prstGeom>
        </p:spPr>
        <p:txBody>
          <a:bodyPr vert="horz" wrap="square" lIns="0" tIns="0" rIns="0" bIns="0" rtlCol="0" anchor="ctr">
            <a:spAutoFit/>
          </a:bodyPr>
          <a:lstStyle>
            <a:defPPr>
              <a:defRPr kern="0"/>
            </a:defPPr>
            <a:lvl1pPr algn="r">
              <a:defRPr sz="1600">
                <a:solidFill>
                  <a:schemeClr val="tx1"/>
                </a:solidFill>
                <a:latin typeface="Avenir Next LT Pro" panose="020B0504020202020204" pitchFamily="34" charset="0"/>
                <a:cs typeface="Poppins" panose="00000500000000000000" pitchFamily="2" charset="0"/>
              </a:defRPr>
            </a:lvl1pPr>
          </a:lstStyle>
          <a:p>
            <a:pPr algn="ctr"/>
            <a:r>
              <a:rPr lang="en-GB" sz="970">
                <a:latin typeface="Poppins" panose="00000500000000000000" pitchFamily="2" charset="0"/>
                <a:cs typeface="Poppins" panose="00000500000000000000" pitchFamily="2" charset="0"/>
              </a:rPr>
              <a:t>Confidential</a:t>
            </a:r>
          </a:p>
        </p:txBody>
      </p:sp>
      <p:cxnSp>
        <p:nvCxnSpPr>
          <p:cNvPr id="2" name="Straight Connector 1">
            <a:extLst>
              <a:ext uri="{FF2B5EF4-FFF2-40B4-BE49-F238E27FC236}">
                <a16:creationId xmlns:a16="http://schemas.microsoft.com/office/drawing/2014/main" id="{42B37B67-71CA-9EA2-6952-ED18760542A7}"/>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29AE0642-5C5E-5B31-0504-8A8BC4F438FC}"/>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8" name="Picture 7" descr="A picture containing drawing, mug&#10;&#10;Description automatically generated">
            <a:extLst>
              <a:ext uri="{FF2B5EF4-FFF2-40B4-BE49-F238E27FC236}">
                <a16:creationId xmlns:a16="http://schemas.microsoft.com/office/drawing/2014/main" id="{B3F64468-525F-3AC2-90BC-0372AC1E7998}"/>
              </a:ext>
            </a:extLst>
          </p:cNvPr>
          <p:cNvPicPr>
            <a:picLocks/>
          </p:cNvPicPr>
          <p:nvPr userDrawn="1"/>
        </p:nvPicPr>
        <p:blipFill>
          <a:blip r:embed="rId3"/>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356943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343">
          <p15:clr>
            <a:srgbClr val="FBAE40"/>
          </p15:clr>
        </p15:guide>
        <p15:guide id="2" pos="322">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0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cxnSp>
        <p:nvCxnSpPr>
          <p:cNvPr id="4" name="Straight Connector 3">
            <a:extLst>
              <a:ext uri="{FF2B5EF4-FFF2-40B4-BE49-F238E27FC236}">
                <a16:creationId xmlns:a16="http://schemas.microsoft.com/office/drawing/2014/main" id="{8A97B7C6-1D77-928C-B9D7-4E6DDD7E41BA}"/>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4EA1D04-2796-ADBD-8FFE-68D7D4CF8AA5}"/>
              </a:ext>
            </a:extLst>
          </p:cNvPr>
          <p:cNvPicPr>
            <a:picLocks noChangeAspect="1"/>
          </p:cNvPicPr>
          <p:nvPr userDrawn="1"/>
        </p:nvPicPr>
        <p:blipFill rotWithShape="1">
          <a:blip r:embed="rId3"/>
          <a:srcRect r="72014"/>
          <a:stretch/>
        </p:blipFill>
        <p:spPr>
          <a:xfrm>
            <a:off x="10858966" y="294851"/>
            <a:ext cx="998464" cy="559351"/>
          </a:xfrm>
          <a:prstGeom prst="rect">
            <a:avLst/>
          </a:prstGeom>
        </p:spPr>
      </p:pic>
      <p:pic>
        <p:nvPicPr>
          <p:cNvPr id="7" name="Picture 6" descr="A picture containing drawing, mug&#10;&#10;Description automatically generated">
            <a:extLst>
              <a:ext uri="{FF2B5EF4-FFF2-40B4-BE49-F238E27FC236}">
                <a16:creationId xmlns:a16="http://schemas.microsoft.com/office/drawing/2014/main" id="{70D0EFBC-0F13-5858-43C9-D04F7D1FB06B}"/>
              </a:ext>
            </a:extLst>
          </p:cNvPr>
          <p:cNvPicPr>
            <a:picLocks/>
          </p:cNvPicPr>
          <p:nvPr userDrawn="1"/>
        </p:nvPicPr>
        <p:blipFill>
          <a:blip r:embed="rId4"/>
          <a:stretch>
            <a:fillRect/>
          </a:stretch>
        </p:blipFill>
        <p:spPr>
          <a:xfrm>
            <a:off x="9053270" y="298188"/>
            <a:ext cx="1599623" cy="556014"/>
          </a:xfrm>
          <a:prstGeom prst="rect">
            <a:avLst/>
          </a:prstGeom>
        </p:spPr>
      </p:pic>
    </p:spTree>
    <p:extLst>
      <p:ext uri="{BB962C8B-B14F-4D97-AF65-F5344CB8AC3E}">
        <p14:creationId xmlns:p14="http://schemas.microsoft.com/office/powerpoint/2010/main" val="6665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572353-3B90-85FD-4207-F5B30A1939E0}"/>
              </a:ext>
            </a:extLst>
          </p:cNvPr>
          <p:cNvSpPr/>
          <p:nvPr userDrawn="1"/>
        </p:nvSpPr>
        <p:spPr>
          <a:xfrm>
            <a:off x="0" y="0"/>
            <a:ext cx="12192000" cy="6858000"/>
          </a:xfrm>
          <a:prstGeom prst="rect">
            <a:avLst/>
          </a:prstGeom>
          <a:gradFill flip="none" rotWithShape="1">
            <a:gsLst>
              <a:gs pos="38000">
                <a:schemeClr val="tx1">
                  <a:lumMod val="50000"/>
                </a:schemeClr>
              </a:gs>
              <a:gs pos="65000">
                <a:schemeClr val="accent1"/>
              </a:gs>
              <a:gs pos="89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cxnSp>
        <p:nvCxnSpPr>
          <p:cNvPr id="11" name="Straight Connector 10">
            <a:extLst>
              <a:ext uri="{FF2B5EF4-FFF2-40B4-BE49-F238E27FC236}">
                <a16:creationId xmlns:a16="http://schemas.microsoft.com/office/drawing/2014/main" id="{C5B336BB-22E4-47A8-AE0D-F7A52D92737F}"/>
              </a:ext>
            </a:extLst>
          </p:cNvPr>
          <p:cNvCxnSpPr>
            <a:cxnSpLocks/>
          </p:cNvCxnSpPr>
          <p:nvPr userDrawn="1"/>
        </p:nvCxnSpPr>
        <p:spPr>
          <a:xfrm>
            <a:off x="10810317" y="212044"/>
            <a:ext cx="0" cy="698574"/>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76AD7FB-052E-EE01-3074-4EE3944F7F54}"/>
              </a:ext>
            </a:extLst>
          </p:cNvPr>
          <p:cNvPicPr>
            <a:picLocks noChangeAspect="1"/>
          </p:cNvPicPr>
          <p:nvPr userDrawn="1"/>
        </p:nvPicPr>
        <p:blipFill rotWithShape="1">
          <a:blip r:embed="rId2"/>
          <a:srcRect r="72014"/>
          <a:stretch/>
        </p:blipFill>
        <p:spPr>
          <a:xfrm>
            <a:off x="10858966" y="294851"/>
            <a:ext cx="998464" cy="559351"/>
          </a:xfrm>
          <a:prstGeom prst="rect">
            <a:avLst/>
          </a:prstGeom>
        </p:spPr>
      </p:pic>
      <p:pic>
        <p:nvPicPr>
          <p:cNvPr id="15" name="Picture 14" descr="A close up of a logo&#10;&#10;Description automatically generated">
            <a:extLst>
              <a:ext uri="{FF2B5EF4-FFF2-40B4-BE49-F238E27FC236}">
                <a16:creationId xmlns:a16="http://schemas.microsoft.com/office/drawing/2014/main" id="{EBE82C06-FCD7-EF65-7876-E84BD8F5346C}"/>
              </a:ext>
            </a:extLst>
          </p:cNvPr>
          <p:cNvPicPr>
            <a:picLocks noChangeAspect="1"/>
          </p:cNvPicPr>
          <p:nvPr userDrawn="1"/>
        </p:nvPicPr>
        <p:blipFill>
          <a:blip r:embed="rId3"/>
          <a:stretch>
            <a:fillRect/>
          </a:stretch>
        </p:blipFill>
        <p:spPr>
          <a:xfrm>
            <a:off x="8993547" y="316434"/>
            <a:ext cx="1600157" cy="516184"/>
          </a:xfrm>
          <a:prstGeom prst="rect">
            <a:avLst/>
          </a:prstGeom>
        </p:spPr>
      </p:pic>
    </p:spTree>
    <p:extLst>
      <p:ext uri="{BB962C8B-B14F-4D97-AF65-F5344CB8AC3E}">
        <p14:creationId xmlns:p14="http://schemas.microsoft.com/office/powerpoint/2010/main" val="248064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100000"/>
              </a:lnSpc>
              <a:defRPr lang="en-GB" sz="5306"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731139"/>
            <a:ext cx="4944575" cy="755463"/>
          </a:xfrm>
          <a:prstGeom prst="rect">
            <a:avLst/>
          </a:prstGeom>
        </p:spPr>
        <p:txBody>
          <a:bodyPr vert="horz" wrap="square" lIns="0" tIns="16510" rIns="0" bIns="0" rtlCol="0">
            <a:spAutoFit/>
          </a:bodyPr>
          <a:lstStyle>
            <a:lvl1pPr>
              <a:lnSpc>
                <a:spcPct val="100000"/>
              </a:lnSpc>
              <a:defRPr lang="en-GB" sz="5307" b="1" i="0" spc="0" dirty="0">
                <a:solidFill>
                  <a:schemeClr val="tx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83388"/>
            <a:ext cx="4964882" cy="240579"/>
          </a:xfrm>
          <a:prstGeom prst="rect">
            <a:avLst/>
          </a:prstGeom>
        </p:spPr>
        <p:txBody>
          <a:bodyPr vert="horz" wrap="square" lIns="0" tIns="16510" rIns="0" bIns="0" rtlCol="0">
            <a:spAutoFit/>
          </a:bodyPr>
          <a:lstStyle>
            <a:lvl1pPr>
              <a:defRPr lang="en-US" sz="1455"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978349"/>
            <a:ext cx="4964882" cy="203325"/>
          </a:xfrm>
          <a:prstGeom prst="rect">
            <a:avLst/>
          </a:prstGeom>
        </p:spPr>
        <p:txBody>
          <a:bodyPr vert="horz" wrap="square" lIns="0" tIns="16510" rIns="0" bIns="0" rtlCol="0">
            <a:spAutoFit/>
          </a:bodyPr>
          <a:lstStyle>
            <a:lvl1pPr>
              <a:defRPr lang="en-US" sz="1213"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7413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5760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pSp>
        <p:nvGrpSpPr>
          <p:cNvPr id="20" name="Group 19" descr="Subtitle">
            <a:extLst>
              <a:ext uri="{FF2B5EF4-FFF2-40B4-BE49-F238E27FC236}">
                <a16:creationId xmlns:a16="http://schemas.microsoft.com/office/drawing/2014/main" id="{AF32C9A6-F465-4AFD-8A55-BF8D7238331D}"/>
              </a:ext>
            </a:extLst>
          </p:cNvPr>
          <p:cNvGrpSpPr/>
          <p:nvPr userDrawn="1"/>
        </p:nvGrpSpPr>
        <p:grpSpPr>
          <a:xfrm>
            <a:off x="0" y="-2371"/>
            <a:ext cx="12192000" cy="6860372"/>
            <a:chOff x="0" y="-1779"/>
            <a:chExt cx="9144000" cy="5145279"/>
          </a:xfrm>
        </p:grpSpPr>
        <p:sp>
          <p:nvSpPr>
            <p:cNvPr id="11" name="Rectangle 10">
              <a:extLst>
                <a:ext uri="{FF2B5EF4-FFF2-40B4-BE49-F238E27FC236}">
                  <a16:creationId xmlns:a16="http://schemas.microsoft.com/office/drawing/2014/main" id="{5BED3732-535E-4635-B982-6088BC8CA092}"/>
                </a:ext>
              </a:extLst>
            </p:cNvPr>
            <p:cNvSpPr/>
            <p:nvPr userDrawn="1"/>
          </p:nvSpPr>
          <p:spPr bwMode="auto">
            <a:xfrm>
              <a:off x="0" y="1"/>
              <a:ext cx="9143999" cy="5143499"/>
            </a:xfrm>
            <a:prstGeom prst="rect">
              <a:avLst/>
            </a:prstGeom>
            <a:gradFill flip="none" rotWithShape="1">
              <a:gsLst>
                <a:gs pos="28000">
                  <a:schemeClr val="accent2">
                    <a:lumMod val="100000"/>
                  </a:schemeClr>
                </a:gs>
                <a:gs pos="71000">
                  <a:schemeClr val="accent3"/>
                </a:gs>
              </a:gsLst>
              <a:lin ang="18900000" scaled="1"/>
              <a:tileRect/>
            </a:gra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endParaRPr lang="en-US" sz="1800">
                <a:solidFill>
                  <a:srgbClr val="000000"/>
                </a:solidFill>
              </a:endParaRPr>
            </a:p>
          </p:txBody>
        </p:sp>
        <p:pic>
          <p:nvPicPr>
            <p:cNvPr id="12" name="Picture 11" descr="large-chevron-01.png">
              <a:extLst>
                <a:ext uri="{FF2B5EF4-FFF2-40B4-BE49-F238E27FC236}">
                  <a16:creationId xmlns:a16="http://schemas.microsoft.com/office/drawing/2014/main" id="{4E04C9E6-3158-437D-9B05-78CE8F96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4239" y="-1779"/>
              <a:ext cx="6839761" cy="5143500"/>
            </a:xfrm>
            <a:prstGeom prst="rect">
              <a:avLst/>
            </a:prstGeom>
          </p:spPr>
        </p:pic>
      </p:grpSp>
      <p:pic>
        <p:nvPicPr>
          <p:cNvPr id="13" name="Picture 12" descr="A close up of a logo&#10;&#10;Description automatically generated">
            <a:extLst>
              <a:ext uri="{FF2B5EF4-FFF2-40B4-BE49-F238E27FC236}">
                <a16:creationId xmlns:a16="http://schemas.microsoft.com/office/drawing/2014/main" id="{E869EDC2-CA41-456F-ABF6-E77476A51A35}"/>
              </a:ext>
            </a:extLst>
          </p:cNvPr>
          <p:cNvPicPr>
            <a:picLocks noChangeAspect="1"/>
          </p:cNvPicPr>
          <p:nvPr userDrawn="1"/>
        </p:nvPicPr>
        <p:blipFill>
          <a:blip r:embed="rId3"/>
          <a:stretch>
            <a:fillRect/>
          </a:stretch>
        </p:blipFill>
        <p:spPr>
          <a:xfrm>
            <a:off x="10231885" y="6231083"/>
            <a:ext cx="1433068" cy="462280"/>
          </a:xfrm>
          <a:prstGeom prst="rect">
            <a:avLst/>
          </a:prstGeom>
        </p:spPr>
      </p:pic>
      <p:sp>
        <p:nvSpPr>
          <p:cNvPr id="19" name="Text Placeholder 18" descr="Title">
            <a:extLst>
              <a:ext uri="{FF2B5EF4-FFF2-40B4-BE49-F238E27FC236}">
                <a16:creationId xmlns:a16="http://schemas.microsoft.com/office/drawing/2014/main" id="{9FDA6ECD-66FD-4EF8-9A2B-A7C4BCD6B445}"/>
              </a:ext>
            </a:extLst>
          </p:cNvPr>
          <p:cNvSpPr>
            <a:spLocks noGrp="1"/>
          </p:cNvSpPr>
          <p:nvPr>
            <p:ph type="body" sz="quarter" idx="10" hasCustomPrompt="1"/>
          </p:nvPr>
        </p:nvSpPr>
        <p:spPr>
          <a:xfrm>
            <a:off x="541759" y="2554246"/>
            <a:ext cx="8337551" cy="359833"/>
          </a:xfrm>
        </p:spPr>
        <p:txBody>
          <a:bodyPr anchor="ctr" anchorCtr="0"/>
          <a:lstStyle>
            <a:lvl1pPr marL="0" indent="0">
              <a:buNone/>
              <a:defRPr sz="2250" b="1" cap="all" baseline="0">
                <a:solidFill>
                  <a:schemeClr val="bg1"/>
                </a:solidFill>
              </a:defRPr>
            </a:lvl1pPr>
          </a:lstStyle>
          <a:p>
            <a:pPr lvl="0"/>
            <a:r>
              <a:rPr lang="en-US"/>
              <a:t>Click here to enter Title</a:t>
            </a:r>
            <a:endParaRPr lang="en-GB"/>
          </a:p>
        </p:txBody>
      </p:sp>
      <p:sp>
        <p:nvSpPr>
          <p:cNvPr id="22" name="Text Placeholder 21">
            <a:extLst>
              <a:ext uri="{FF2B5EF4-FFF2-40B4-BE49-F238E27FC236}">
                <a16:creationId xmlns:a16="http://schemas.microsoft.com/office/drawing/2014/main" id="{7AAE1D75-A6EB-46F9-B60A-574B3D29E0C7}"/>
              </a:ext>
            </a:extLst>
          </p:cNvPr>
          <p:cNvSpPr>
            <a:spLocks noGrp="1"/>
          </p:cNvSpPr>
          <p:nvPr>
            <p:ph type="body" sz="quarter" idx="11" hasCustomPrompt="1"/>
          </p:nvPr>
        </p:nvSpPr>
        <p:spPr>
          <a:xfrm>
            <a:off x="541758" y="2925253"/>
            <a:ext cx="7858503" cy="360000"/>
          </a:xfrm>
        </p:spPr>
        <p:txBody>
          <a:bodyPr/>
          <a:lstStyle>
            <a:lvl1pPr marL="0" indent="0">
              <a:buNone/>
              <a:defRPr sz="2250" cap="all" baseline="0">
                <a:solidFill>
                  <a:schemeClr val="bg1"/>
                </a:solidFill>
              </a:defRPr>
            </a:lvl1pPr>
          </a:lstStyle>
          <a:p>
            <a:pPr lvl="0"/>
            <a:r>
              <a:rPr lang="en-GB"/>
              <a:t>Click here to enter SUBTITLE</a:t>
            </a:r>
          </a:p>
        </p:txBody>
      </p:sp>
      <p:sp>
        <p:nvSpPr>
          <p:cNvPr id="25" name="Text Placeholder 24">
            <a:extLst>
              <a:ext uri="{FF2B5EF4-FFF2-40B4-BE49-F238E27FC236}">
                <a16:creationId xmlns:a16="http://schemas.microsoft.com/office/drawing/2014/main" id="{1F89D9E5-AACB-4734-9A40-F9519E651D8C}"/>
              </a:ext>
            </a:extLst>
          </p:cNvPr>
          <p:cNvSpPr>
            <a:spLocks noGrp="1"/>
          </p:cNvSpPr>
          <p:nvPr>
            <p:ph type="body" sz="quarter" idx="12" hasCustomPrompt="1"/>
          </p:nvPr>
        </p:nvSpPr>
        <p:spPr>
          <a:xfrm>
            <a:off x="527053" y="4252268"/>
            <a:ext cx="4705349" cy="312000"/>
          </a:xfrm>
        </p:spPr>
        <p:txBody>
          <a:bodyPr/>
          <a:lstStyle>
            <a:lvl1pPr marL="0" indent="0">
              <a:buNone/>
              <a:defRPr sz="1500" b="1">
                <a:solidFill>
                  <a:schemeClr val="bg1"/>
                </a:solidFill>
              </a:defRPr>
            </a:lvl1pPr>
          </a:lstStyle>
          <a:p>
            <a:pPr lvl="0"/>
            <a:r>
              <a:rPr lang="en-GB"/>
              <a:t>Click here to enter Presentation Author</a:t>
            </a:r>
          </a:p>
        </p:txBody>
      </p:sp>
      <p:sp>
        <p:nvSpPr>
          <p:cNvPr id="27" name="Text Placeholder 26">
            <a:extLst>
              <a:ext uri="{FF2B5EF4-FFF2-40B4-BE49-F238E27FC236}">
                <a16:creationId xmlns:a16="http://schemas.microsoft.com/office/drawing/2014/main" id="{09D7C18C-91A4-4C2F-94B1-763ED419B335}"/>
              </a:ext>
            </a:extLst>
          </p:cNvPr>
          <p:cNvSpPr>
            <a:spLocks noGrp="1"/>
          </p:cNvSpPr>
          <p:nvPr>
            <p:ph type="body" sz="quarter" idx="13" hasCustomPrompt="1"/>
          </p:nvPr>
        </p:nvSpPr>
        <p:spPr>
          <a:xfrm>
            <a:off x="527053" y="4587168"/>
            <a:ext cx="4705349" cy="312000"/>
          </a:xfrm>
        </p:spPr>
        <p:txBody>
          <a:bodyPr/>
          <a:lstStyle>
            <a:lvl1pPr marL="0" indent="0">
              <a:buNone/>
              <a:defRPr sz="1500">
                <a:solidFill>
                  <a:schemeClr val="bg1"/>
                </a:solidFill>
              </a:defRPr>
            </a:lvl1pPr>
          </a:lstStyle>
          <a:p>
            <a:pPr lvl="0"/>
            <a:r>
              <a:rPr lang="en-GB"/>
              <a:t>Click here to enter Date</a:t>
            </a:r>
          </a:p>
        </p:txBody>
      </p:sp>
      <p:sp>
        <p:nvSpPr>
          <p:cNvPr id="14" name="Footer Placeholder 5">
            <a:extLst>
              <a:ext uri="{FF2B5EF4-FFF2-40B4-BE49-F238E27FC236}">
                <a16:creationId xmlns:a16="http://schemas.microsoft.com/office/drawing/2014/main" id="{CF3399CA-77E3-45E9-97B1-F6F8D1B71A36}"/>
              </a:ext>
            </a:extLst>
          </p:cNvPr>
          <p:cNvSpPr>
            <a:spLocks noGrp="1"/>
          </p:cNvSpPr>
          <p:nvPr>
            <p:ph type="ftr" sz="quarter" idx="14"/>
          </p:nvPr>
        </p:nvSpPr>
        <p:spPr>
          <a:xfrm>
            <a:off x="527050" y="6462223"/>
            <a:ext cx="1152459" cy="177516"/>
          </a:xfrm>
          <a:prstGeom prst="rect">
            <a:avLst/>
          </a:prstGeom>
        </p:spPr>
        <p:txBody>
          <a:bodyPr anchor="ctr"/>
          <a:lstStyle>
            <a:lvl1pPr algn="l">
              <a:defRPr sz="800">
                <a:solidFill>
                  <a:schemeClr val="bg1"/>
                </a:solidFill>
              </a:defRPr>
            </a:lvl1pPr>
          </a:lstStyle>
          <a:p>
            <a:r>
              <a:rPr lang="en-GB"/>
              <a:t>Confidential</a:t>
            </a:r>
          </a:p>
        </p:txBody>
      </p:sp>
    </p:spTree>
    <p:extLst>
      <p:ext uri="{BB962C8B-B14F-4D97-AF65-F5344CB8AC3E}">
        <p14:creationId xmlns:p14="http://schemas.microsoft.com/office/powerpoint/2010/main" val="2478260224"/>
      </p:ext>
    </p:extLst>
  </p:cSld>
  <p:clrMapOvr>
    <a:overrideClrMapping bg1="lt1" tx1="dk1" bg2="lt2" tx2="dk2" accent1="accent1" accent2="accent2" accent3="accent3" accent4="accent4" accent5="accent5" accent6="accent6" hlink="hlink" folHlink="folHlink"/>
  </p:clrMapOvr>
  <p:transition spd="med">
    <p:fade thruBlk="1"/>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userDrawn="1">
  <p:cSld name="2_Contents">
    <p:spTree>
      <p:nvGrpSpPr>
        <p:cNvPr id="1" name=""/>
        <p:cNvGrpSpPr/>
        <p:nvPr/>
      </p:nvGrpSpPr>
      <p:grpSpPr>
        <a:xfrm>
          <a:off x="0" y="0"/>
          <a:ext cx="0" cy="0"/>
          <a:chOff x="0" y="0"/>
          <a:chExt cx="0" cy="0"/>
        </a:xfrm>
      </p:grpSpPr>
      <p:pic>
        <p:nvPicPr>
          <p:cNvPr id="4" name="Picture 3" descr="A picture containing drawing, mug&#10;&#10;Description automatically generated">
            <a:extLst>
              <a:ext uri="{FF2B5EF4-FFF2-40B4-BE49-F238E27FC236}">
                <a16:creationId xmlns:a16="http://schemas.microsoft.com/office/drawing/2014/main" id="{B804DEA5-3DA9-CCE9-8491-89C0C5C69FE5}"/>
              </a:ext>
            </a:extLst>
          </p:cNvPr>
          <p:cNvPicPr>
            <a:picLocks noChangeAspect="1"/>
          </p:cNvPicPr>
          <p:nvPr userDrawn="1"/>
        </p:nvPicPr>
        <p:blipFill>
          <a:blip r:embed="rId2"/>
          <a:stretch>
            <a:fillRect/>
          </a:stretch>
        </p:blipFill>
        <p:spPr>
          <a:xfrm>
            <a:off x="10426567" y="232915"/>
            <a:ext cx="1469415" cy="419893"/>
          </a:xfrm>
          <a:prstGeom prst="rect">
            <a:avLst/>
          </a:prstGeom>
        </p:spPr>
      </p:pic>
      <p:sp>
        <p:nvSpPr>
          <p:cNvPr id="2" name="Title 1">
            <a:extLst>
              <a:ext uri="{FF2B5EF4-FFF2-40B4-BE49-F238E27FC236}">
                <a16:creationId xmlns:a16="http://schemas.microsoft.com/office/drawing/2014/main" id="{AA52A056-5A3D-DC7C-961A-9FDE252DA6E9}"/>
              </a:ext>
            </a:extLst>
          </p:cNvPr>
          <p:cNvSpPr>
            <a:spLocks noGrp="1"/>
          </p:cNvSpPr>
          <p:nvPr>
            <p:ph type="title" hasCustomPrompt="1"/>
          </p:nvPr>
        </p:nvSpPr>
        <p:spPr>
          <a:xfrm>
            <a:off x="330375" y="321169"/>
            <a:ext cx="9504000" cy="615553"/>
          </a:xfrm>
        </p:spPr>
        <p:txBody>
          <a:bodyPr lIns="0" tIns="0" rIns="0" bIns="0"/>
          <a:lstStyle>
            <a:lvl1pPr>
              <a:defRPr sz="2000">
                <a:latin typeface="+mj-lt"/>
              </a:defRPr>
            </a:lvl1pPr>
          </a:lstStyle>
          <a:p>
            <a:r>
              <a:rPr lang="en-US"/>
              <a:t>Click to edit Master title style</a:t>
            </a:r>
            <a:br>
              <a:rPr lang="en-US"/>
            </a:br>
            <a:endParaRPr lang="en-GB"/>
          </a:p>
        </p:txBody>
      </p:sp>
      <p:cxnSp>
        <p:nvCxnSpPr>
          <p:cNvPr id="6" name="Straight Connector 5">
            <a:extLst>
              <a:ext uri="{FF2B5EF4-FFF2-40B4-BE49-F238E27FC236}">
                <a16:creationId xmlns:a16="http://schemas.microsoft.com/office/drawing/2014/main" id="{49D37C82-4E9E-148A-8BC5-2FF27BA21DFC}"/>
              </a:ext>
            </a:extLst>
          </p:cNvPr>
          <p:cNvCxnSpPr>
            <a:cxnSpLocks/>
          </p:cNvCxnSpPr>
          <p:nvPr userDrawn="1"/>
        </p:nvCxnSpPr>
        <p:spPr bwMode="auto">
          <a:xfrm>
            <a:off x="330376" y="1056439"/>
            <a:ext cx="11565606" cy="0"/>
          </a:xfrm>
          <a:prstGeom prst="line">
            <a:avLst/>
          </a:prstGeom>
          <a:solidFill>
            <a:schemeClr val="accent1"/>
          </a:solidFill>
          <a:ln w="19050" cap="flat" cmpd="sng" algn="ctr">
            <a:solidFill>
              <a:schemeClr val="accent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3" name="Footer Placeholder 2">
            <a:extLst>
              <a:ext uri="{FF2B5EF4-FFF2-40B4-BE49-F238E27FC236}">
                <a16:creationId xmlns:a16="http://schemas.microsoft.com/office/drawing/2014/main" id="{486AA172-C6EE-7C3E-8022-BBB96E1471DE}"/>
              </a:ext>
            </a:extLst>
          </p:cNvPr>
          <p:cNvSpPr>
            <a:spLocks noGrp="1"/>
          </p:cNvSpPr>
          <p:nvPr>
            <p:ph type="ftr" sz="quarter" idx="10"/>
          </p:nvPr>
        </p:nvSpPr>
        <p:spPr>
          <a:xfrm>
            <a:off x="527052" y="6485755"/>
            <a:ext cx="1152459" cy="177516"/>
          </a:xfrm>
          <a:prstGeom prst="rect">
            <a:avLst/>
          </a:prstGeom>
        </p:spPr>
        <p:txBody>
          <a:bodyPr/>
          <a:lstStyle/>
          <a:p>
            <a:r>
              <a:rPr lang="en-GB"/>
              <a:t>Confidential</a:t>
            </a:r>
          </a:p>
        </p:txBody>
      </p:sp>
    </p:spTree>
    <p:extLst>
      <p:ext uri="{BB962C8B-B14F-4D97-AF65-F5344CB8AC3E}">
        <p14:creationId xmlns:p14="http://schemas.microsoft.com/office/powerpoint/2010/main" val="255573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26">
          <p15:clr>
            <a:srgbClr val="FBAE40"/>
          </p15:clr>
        </p15:guide>
        <p15:guide id="2" pos="202">
          <p15:clr>
            <a:srgbClr val="FBAE40"/>
          </p15:clr>
        </p15:guide>
        <p15:guide id="3" pos="4496">
          <p15:clr>
            <a:srgbClr val="FBAE40"/>
          </p15:clr>
        </p15:guide>
        <p15:guide id="4" orient="horz" pos="690">
          <p15:clr>
            <a:srgbClr val="FBAE4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B744A-31A5-98E7-5CDB-AE11F3F0D930}"/>
              </a:ext>
            </a:extLst>
          </p:cNvPr>
          <p:cNvSpPr>
            <a:spLocks noGrp="1"/>
          </p:cNvSpPr>
          <p:nvPr>
            <p:ph type="title"/>
          </p:nvPr>
        </p:nvSpPr>
        <p:spPr/>
        <p:txBody>
          <a:bodyPr/>
          <a:lstStyle/>
          <a:p>
            <a:r>
              <a:rPr lang="en-GB"/>
              <a:t>Click to edit Master title style</a:t>
            </a:r>
          </a:p>
        </p:txBody>
      </p:sp>
      <p:sp>
        <p:nvSpPr>
          <p:cNvPr id="5" name="TextBox 4">
            <a:extLst>
              <a:ext uri="{FF2B5EF4-FFF2-40B4-BE49-F238E27FC236}">
                <a16:creationId xmlns:a16="http://schemas.microsoft.com/office/drawing/2014/main" id="{84CF02C8-02FF-6768-45C6-AECD17BBF48C}"/>
              </a:ext>
            </a:extLst>
          </p:cNvPr>
          <p:cNvSpPr txBox="1"/>
          <p:nvPr userDrawn="1"/>
        </p:nvSpPr>
        <p:spPr>
          <a:xfrm>
            <a:off x="-1067655" y="460493"/>
            <a:ext cx="969174" cy="502573"/>
          </a:xfrm>
          <a:prstGeom prst="rect">
            <a:avLst/>
          </a:prstGeom>
          <a:noFill/>
        </p:spPr>
        <p:txBody>
          <a:bodyPr wrap="square" rtlCol="0">
            <a:spAutoFit/>
          </a:bodyPr>
          <a:lstStyle/>
          <a:p>
            <a:pPr algn="ctr"/>
            <a:r>
              <a:rPr lang="en-US" sz="1333">
                <a:latin typeface="+mn-lt"/>
              </a:rPr>
              <a:t>Embark colours</a:t>
            </a:r>
            <a:endParaRPr lang="en-GB" sz="1333">
              <a:latin typeface="+mn-lt"/>
            </a:endParaRPr>
          </a:p>
        </p:txBody>
      </p:sp>
      <p:sp>
        <p:nvSpPr>
          <p:cNvPr id="6" name="Rectangle 5">
            <a:extLst>
              <a:ext uri="{FF2B5EF4-FFF2-40B4-BE49-F238E27FC236}">
                <a16:creationId xmlns:a16="http://schemas.microsoft.com/office/drawing/2014/main" id="{CFFC2934-A750-3E3B-CB03-E46727954D7C}"/>
              </a:ext>
            </a:extLst>
          </p:cNvPr>
          <p:cNvSpPr/>
          <p:nvPr userDrawn="1"/>
        </p:nvSpPr>
        <p:spPr bwMode="auto">
          <a:xfrm>
            <a:off x="-825681" y="1170264"/>
            <a:ext cx="485228" cy="485228"/>
          </a:xfrm>
          <a:prstGeom prst="rect">
            <a:avLst/>
          </a:prstGeom>
          <a:solidFill>
            <a:schemeClr val="accent2"/>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7" name="Rectangle 6">
            <a:extLst>
              <a:ext uri="{FF2B5EF4-FFF2-40B4-BE49-F238E27FC236}">
                <a16:creationId xmlns:a16="http://schemas.microsoft.com/office/drawing/2014/main" id="{0B324FE4-9C16-BBA4-3644-23166996308B}"/>
              </a:ext>
            </a:extLst>
          </p:cNvPr>
          <p:cNvSpPr/>
          <p:nvPr userDrawn="1"/>
        </p:nvSpPr>
        <p:spPr bwMode="auto">
          <a:xfrm>
            <a:off x="-825681" y="1705710"/>
            <a:ext cx="485228" cy="485228"/>
          </a:xfrm>
          <a:prstGeom prst="rect">
            <a:avLst/>
          </a:prstGeom>
          <a:solidFill>
            <a:schemeClr val="accent3"/>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8" name="Rectangle 7">
            <a:extLst>
              <a:ext uri="{FF2B5EF4-FFF2-40B4-BE49-F238E27FC236}">
                <a16:creationId xmlns:a16="http://schemas.microsoft.com/office/drawing/2014/main" id="{F97E3DDE-65F0-AC18-D54B-7580C42126A6}"/>
              </a:ext>
            </a:extLst>
          </p:cNvPr>
          <p:cNvSpPr/>
          <p:nvPr userDrawn="1"/>
        </p:nvSpPr>
        <p:spPr bwMode="auto">
          <a:xfrm>
            <a:off x="-825681" y="2241159"/>
            <a:ext cx="485228" cy="485228"/>
          </a:xfrm>
          <a:prstGeom prst="rect">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
        <p:nvSpPr>
          <p:cNvPr id="14" name="Rectangle 13">
            <a:extLst>
              <a:ext uri="{FF2B5EF4-FFF2-40B4-BE49-F238E27FC236}">
                <a16:creationId xmlns:a16="http://schemas.microsoft.com/office/drawing/2014/main" id="{E8AE7F14-3DDB-7A5C-2F2E-CE4AF1428874}"/>
              </a:ext>
            </a:extLst>
          </p:cNvPr>
          <p:cNvSpPr/>
          <p:nvPr userDrawn="1"/>
        </p:nvSpPr>
        <p:spPr bwMode="auto">
          <a:xfrm>
            <a:off x="-825681" y="2774414"/>
            <a:ext cx="485228" cy="485228"/>
          </a:xfrm>
          <a:prstGeom prst="rect">
            <a:avLst/>
          </a:prstGeom>
          <a:solidFill>
            <a:srgbClr val="AB1254"/>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121919" tIns="60960" rIns="121919" bIns="60960" numCol="1" rtlCol="0" anchor="t" anchorCtr="0" compatLnSpc="1">
            <a:prstTxWarp prst="textNoShape">
              <a:avLst/>
            </a:prstTxWarp>
          </a:bodyPr>
          <a:lstStyle/>
          <a:p>
            <a:pPr marL="0" marR="0" indent="0" algn="l" defTabSz="1219188" rtl="0" eaLnBrk="1" fontAlgn="base" latinLnBrk="0" hangingPunct="1">
              <a:lnSpc>
                <a:spcPct val="100000"/>
              </a:lnSpc>
              <a:spcBef>
                <a:spcPct val="0"/>
              </a:spcBef>
              <a:spcAft>
                <a:spcPct val="0"/>
              </a:spcAft>
              <a:buClrTx/>
              <a:buSzTx/>
              <a:buFontTx/>
              <a:buNone/>
              <a:tabLst/>
            </a:pPr>
            <a:endParaRPr kumimoji="0" lang="en-GB" sz="3200" b="0" i="0" u="none" strike="noStrike" cap="none" normalizeH="0" baseline="0">
              <a:ln>
                <a:noFill/>
              </a:ln>
              <a:solidFill>
                <a:srgbClr val="000000"/>
              </a:solidFill>
              <a:effectLst/>
              <a:latin typeface="Open Sans" panose="020B0606030504020204" pitchFamily="34" charset="0"/>
              <a:ea typeface="ＭＳ Ｐゴシック" charset="0"/>
            </a:endParaRPr>
          </a:p>
        </p:txBody>
      </p:sp>
    </p:spTree>
    <p:extLst>
      <p:ext uri="{BB962C8B-B14F-4D97-AF65-F5344CB8AC3E}">
        <p14:creationId xmlns:p14="http://schemas.microsoft.com/office/powerpoint/2010/main" val="38356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172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3"/>
            <a:ext cx="9927025" cy="508601"/>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7"/>
            <a:ext cx="2804160" cy="130645"/>
          </a:xfrm>
        </p:spPr>
        <p:txBody>
          <a:bodyPr/>
          <a:lstStyle>
            <a:lvl1pPr>
              <a:defRPr>
                <a:solidFill>
                  <a:schemeClr val="bg1"/>
                </a:solidFill>
              </a:defRPr>
            </a:lvl1pPr>
          </a:lstStyle>
          <a:p>
            <a:r>
              <a:rPr lang="en-GB"/>
              <a:t>  </a:t>
            </a:r>
          </a:p>
        </p:txBody>
      </p:sp>
      <p:sp>
        <p:nvSpPr>
          <p:cNvPr id="7" name="Rectangle 6">
            <a:extLst>
              <a:ext uri="{FF2B5EF4-FFF2-40B4-BE49-F238E27FC236}">
                <a16:creationId xmlns:a16="http://schemas.microsoft.com/office/drawing/2014/main" id="{C5A45B81-3DA7-741B-E778-D652A7CD132B}"/>
              </a:ext>
            </a:extLst>
          </p:cNvPr>
          <p:cNvSpPr/>
          <p:nvPr userDrawn="1"/>
        </p:nvSpPr>
        <p:spPr>
          <a:xfrm>
            <a:off x="0" y="6771342"/>
            <a:ext cx="12192000" cy="866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pic>
        <p:nvPicPr>
          <p:cNvPr id="5" name="Picture 4">
            <a:extLst>
              <a:ext uri="{FF2B5EF4-FFF2-40B4-BE49-F238E27FC236}">
                <a16:creationId xmlns:a16="http://schemas.microsoft.com/office/drawing/2014/main" id="{AEFF15FF-418D-DE7D-3D10-D74BEF4E7DA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099800" y="84566"/>
            <a:ext cx="1009640" cy="511740"/>
          </a:xfrm>
          <a:prstGeom prst="rect">
            <a:avLst/>
          </a:prstGeom>
        </p:spPr>
      </p:pic>
    </p:spTree>
    <p:extLst>
      <p:ext uri="{BB962C8B-B14F-4D97-AF65-F5344CB8AC3E}">
        <p14:creationId xmlns:p14="http://schemas.microsoft.com/office/powerpoint/2010/main" val="29183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cSld name="Team Slide (x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47BD6-4A11-9F32-72F9-AE936CA9601E}"/>
              </a:ext>
            </a:extLst>
          </p:cNvPr>
          <p:cNvSpPr>
            <a:spLocks noGrp="1"/>
          </p:cNvSpPr>
          <p:nvPr>
            <p:ph type="title"/>
          </p:nvPr>
        </p:nvSpPr>
        <p:spPr/>
        <p:txBody>
          <a:bodyPr vert="horz"/>
          <a:lstStyle/>
          <a:p>
            <a:r>
              <a:rPr lang="en-US"/>
              <a:t>Click to edit Master title style</a:t>
            </a:r>
            <a:endParaRPr lang="en-GB"/>
          </a:p>
        </p:txBody>
      </p:sp>
      <p:sp>
        <p:nvSpPr>
          <p:cNvPr id="56" name="Picture Placeholder 55">
            <a:extLst>
              <a:ext uri="{FF2B5EF4-FFF2-40B4-BE49-F238E27FC236}">
                <a16:creationId xmlns:a16="http://schemas.microsoft.com/office/drawing/2014/main" id="{91B1ED11-2A95-3D55-EFC0-6D97C85D9B1E}"/>
              </a:ext>
            </a:extLst>
          </p:cNvPr>
          <p:cNvSpPr>
            <a:spLocks noGrp="1"/>
          </p:cNvSpPr>
          <p:nvPr>
            <p:ph type="pic" sz="quarter" idx="38"/>
          </p:nvPr>
        </p:nvSpPr>
        <p:spPr>
          <a:xfrm>
            <a:off x="382586" y="159226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5" name="Text Placeholder 54">
            <a:extLst>
              <a:ext uri="{FF2B5EF4-FFF2-40B4-BE49-F238E27FC236}">
                <a16:creationId xmlns:a16="http://schemas.microsoft.com/office/drawing/2014/main" id="{86296103-08EC-2B03-A45C-8D3A42CF27AA}"/>
              </a:ext>
            </a:extLst>
          </p:cNvPr>
          <p:cNvSpPr>
            <a:spLocks noGrp="1"/>
          </p:cNvSpPr>
          <p:nvPr>
            <p:ph type="body" sz="quarter" idx="37"/>
          </p:nvPr>
        </p:nvSpPr>
        <p:spPr>
          <a:xfrm>
            <a:off x="1457235" y="159226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8" name="Picture Placeholder 57">
            <a:extLst>
              <a:ext uri="{FF2B5EF4-FFF2-40B4-BE49-F238E27FC236}">
                <a16:creationId xmlns:a16="http://schemas.microsoft.com/office/drawing/2014/main" id="{1BFDAE90-1CDB-6673-EB93-68B73DE497D0}"/>
              </a:ext>
            </a:extLst>
          </p:cNvPr>
          <p:cNvSpPr>
            <a:spLocks noGrp="1"/>
          </p:cNvSpPr>
          <p:nvPr>
            <p:ph type="pic" sz="quarter" idx="40"/>
          </p:nvPr>
        </p:nvSpPr>
        <p:spPr>
          <a:xfrm>
            <a:off x="382586" y="274924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7" name="Text Placeholder 56">
            <a:extLst>
              <a:ext uri="{FF2B5EF4-FFF2-40B4-BE49-F238E27FC236}">
                <a16:creationId xmlns:a16="http://schemas.microsoft.com/office/drawing/2014/main" id="{26270669-67C2-7248-76D6-1BAF2A7DA2D2}"/>
              </a:ext>
            </a:extLst>
          </p:cNvPr>
          <p:cNvSpPr>
            <a:spLocks noGrp="1"/>
          </p:cNvSpPr>
          <p:nvPr>
            <p:ph type="body" sz="quarter" idx="39"/>
          </p:nvPr>
        </p:nvSpPr>
        <p:spPr>
          <a:xfrm>
            <a:off x="1457235" y="274924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60" name="Picture Placeholder 59">
            <a:extLst>
              <a:ext uri="{FF2B5EF4-FFF2-40B4-BE49-F238E27FC236}">
                <a16:creationId xmlns:a16="http://schemas.microsoft.com/office/drawing/2014/main" id="{BDEF1D29-B071-3415-DFB5-6351A9A49AF6}"/>
              </a:ext>
            </a:extLst>
          </p:cNvPr>
          <p:cNvSpPr>
            <a:spLocks noGrp="1"/>
          </p:cNvSpPr>
          <p:nvPr>
            <p:ph type="pic" sz="quarter" idx="42"/>
          </p:nvPr>
        </p:nvSpPr>
        <p:spPr>
          <a:xfrm>
            <a:off x="382586" y="390622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9" name="Text Placeholder 58">
            <a:extLst>
              <a:ext uri="{FF2B5EF4-FFF2-40B4-BE49-F238E27FC236}">
                <a16:creationId xmlns:a16="http://schemas.microsoft.com/office/drawing/2014/main" id="{6EA691B7-1A79-FD93-391C-0F95CEEB0CD5}"/>
              </a:ext>
            </a:extLst>
          </p:cNvPr>
          <p:cNvSpPr>
            <a:spLocks noGrp="1"/>
          </p:cNvSpPr>
          <p:nvPr>
            <p:ph type="body" sz="quarter" idx="41"/>
          </p:nvPr>
        </p:nvSpPr>
        <p:spPr>
          <a:xfrm>
            <a:off x="1457235" y="390622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62" name="Picture Placeholder 61">
            <a:extLst>
              <a:ext uri="{FF2B5EF4-FFF2-40B4-BE49-F238E27FC236}">
                <a16:creationId xmlns:a16="http://schemas.microsoft.com/office/drawing/2014/main" id="{524C129E-9D07-6ACC-1C85-41560C09CBC8}"/>
              </a:ext>
            </a:extLst>
          </p:cNvPr>
          <p:cNvSpPr>
            <a:spLocks noGrp="1"/>
          </p:cNvSpPr>
          <p:nvPr>
            <p:ph type="pic" sz="quarter" idx="44"/>
          </p:nvPr>
        </p:nvSpPr>
        <p:spPr>
          <a:xfrm>
            <a:off x="382586" y="5063204"/>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61" name="Text Placeholder 60">
            <a:extLst>
              <a:ext uri="{FF2B5EF4-FFF2-40B4-BE49-F238E27FC236}">
                <a16:creationId xmlns:a16="http://schemas.microsoft.com/office/drawing/2014/main" id="{CE607E41-61FB-3899-9D87-D967BCBB4862}"/>
              </a:ext>
            </a:extLst>
          </p:cNvPr>
          <p:cNvSpPr>
            <a:spLocks noGrp="1"/>
          </p:cNvSpPr>
          <p:nvPr>
            <p:ph type="body" sz="quarter" idx="43"/>
          </p:nvPr>
        </p:nvSpPr>
        <p:spPr>
          <a:xfrm>
            <a:off x="1457235" y="5063204"/>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47" name="Picture Placeholder 46">
            <a:extLst>
              <a:ext uri="{FF2B5EF4-FFF2-40B4-BE49-F238E27FC236}">
                <a16:creationId xmlns:a16="http://schemas.microsoft.com/office/drawing/2014/main" id="{956EEDF0-AF11-A458-A038-2EC53BC87C00}"/>
              </a:ext>
            </a:extLst>
          </p:cNvPr>
          <p:cNvSpPr>
            <a:spLocks noGrp="1"/>
          </p:cNvSpPr>
          <p:nvPr>
            <p:ph type="pic" sz="quarter" idx="30"/>
          </p:nvPr>
        </p:nvSpPr>
        <p:spPr>
          <a:xfrm>
            <a:off x="6167014" y="159226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48" name="Text Placeholder 47">
            <a:extLst>
              <a:ext uri="{FF2B5EF4-FFF2-40B4-BE49-F238E27FC236}">
                <a16:creationId xmlns:a16="http://schemas.microsoft.com/office/drawing/2014/main" id="{3F9EE951-49E8-B7AD-2AF9-BAABB3A4083A}"/>
              </a:ext>
            </a:extLst>
          </p:cNvPr>
          <p:cNvSpPr>
            <a:spLocks noGrp="1"/>
          </p:cNvSpPr>
          <p:nvPr>
            <p:ph type="body" sz="quarter" idx="24"/>
          </p:nvPr>
        </p:nvSpPr>
        <p:spPr>
          <a:xfrm>
            <a:off x="7241663" y="159226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0" name="Picture Placeholder 49">
            <a:extLst>
              <a:ext uri="{FF2B5EF4-FFF2-40B4-BE49-F238E27FC236}">
                <a16:creationId xmlns:a16="http://schemas.microsoft.com/office/drawing/2014/main" id="{C045B94B-9366-FDCB-DE9D-F25EA04C56AE}"/>
              </a:ext>
            </a:extLst>
          </p:cNvPr>
          <p:cNvSpPr>
            <a:spLocks noGrp="1"/>
          </p:cNvSpPr>
          <p:nvPr>
            <p:ph type="pic" sz="quarter" idx="32"/>
          </p:nvPr>
        </p:nvSpPr>
        <p:spPr>
          <a:xfrm>
            <a:off x="6167014" y="274924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49" name="Text Placeholder 48">
            <a:extLst>
              <a:ext uri="{FF2B5EF4-FFF2-40B4-BE49-F238E27FC236}">
                <a16:creationId xmlns:a16="http://schemas.microsoft.com/office/drawing/2014/main" id="{2CF3FC91-74AD-51D6-1291-AA9E7C14EE22}"/>
              </a:ext>
            </a:extLst>
          </p:cNvPr>
          <p:cNvSpPr>
            <a:spLocks noGrp="1"/>
          </p:cNvSpPr>
          <p:nvPr>
            <p:ph type="body" sz="quarter" idx="31"/>
          </p:nvPr>
        </p:nvSpPr>
        <p:spPr>
          <a:xfrm>
            <a:off x="7241663" y="274924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2" name="Picture Placeholder 51">
            <a:extLst>
              <a:ext uri="{FF2B5EF4-FFF2-40B4-BE49-F238E27FC236}">
                <a16:creationId xmlns:a16="http://schemas.microsoft.com/office/drawing/2014/main" id="{57702AE0-4A0E-2D1F-BE6C-555C11DF209C}"/>
              </a:ext>
            </a:extLst>
          </p:cNvPr>
          <p:cNvSpPr>
            <a:spLocks noGrp="1"/>
          </p:cNvSpPr>
          <p:nvPr>
            <p:ph type="pic" sz="quarter" idx="34"/>
          </p:nvPr>
        </p:nvSpPr>
        <p:spPr>
          <a:xfrm>
            <a:off x="6167014" y="3906223"/>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1" name="Text Placeholder 50">
            <a:extLst>
              <a:ext uri="{FF2B5EF4-FFF2-40B4-BE49-F238E27FC236}">
                <a16:creationId xmlns:a16="http://schemas.microsoft.com/office/drawing/2014/main" id="{95AE16F2-952F-47E8-C173-5B61A4EAF0C0}"/>
              </a:ext>
            </a:extLst>
          </p:cNvPr>
          <p:cNvSpPr>
            <a:spLocks noGrp="1"/>
          </p:cNvSpPr>
          <p:nvPr>
            <p:ph type="body" sz="quarter" idx="33"/>
          </p:nvPr>
        </p:nvSpPr>
        <p:spPr>
          <a:xfrm>
            <a:off x="7241663" y="3906223"/>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54" name="Picture Placeholder 53">
            <a:extLst>
              <a:ext uri="{FF2B5EF4-FFF2-40B4-BE49-F238E27FC236}">
                <a16:creationId xmlns:a16="http://schemas.microsoft.com/office/drawing/2014/main" id="{A396376E-618F-722D-A43E-31E50A883CDE}"/>
              </a:ext>
            </a:extLst>
          </p:cNvPr>
          <p:cNvSpPr>
            <a:spLocks noGrp="1"/>
          </p:cNvSpPr>
          <p:nvPr>
            <p:ph type="pic" sz="quarter" idx="36"/>
          </p:nvPr>
        </p:nvSpPr>
        <p:spPr>
          <a:xfrm>
            <a:off x="6167014" y="5063204"/>
            <a:ext cx="1074649" cy="1028060"/>
          </a:xfrm>
          <a:custGeom>
            <a:avLst/>
            <a:gdLst>
              <a:gd name="connsiteX0" fmla="*/ 110258 w 1074649"/>
              <a:gd name="connsiteY0" fmla="*/ 0 h 1028060"/>
              <a:gd name="connsiteX1" fmla="*/ 1074649 w 1074649"/>
              <a:gd name="connsiteY1" fmla="*/ 0 h 1028060"/>
              <a:gd name="connsiteX2" fmla="*/ 1074649 w 1074649"/>
              <a:gd name="connsiteY2" fmla="*/ 1028060 h 1028060"/>
              <a:gd name="connsiteX3" fmla="*/ 110258 w 1074649"/>
              <a:gd name="connsiteY3" fmla="*/ 1028060 h 1028060"/>
              <a:gd name="connsiteX4" fmla="*/ 0 w 1074649"/>
              <a:gd name="connsiteY4" fmla="*/ 917802 h 1028060"/>
              <a:gd name="connsiteX5" fmla="*/ 0 w 1074649"/>
              <a:gd name="connsiteY5" fmla="*/ 772985 h 1028060"/>
              <a:gd name="connsiteX6" fmla="*/ 0 w 1074649"/>
              <a:gd name="connsiteY6" fmla="*/ 255075 h 1028060"/>
              <a:gd name="connsiteX7" fmla="*/ 0 w 1074649"/>
              <a:gd name="connsiteY7" fmla="*/ 110258 h 1028060"/>
              <a:gd name="connsiteX8" fmla="*/ 110258 w 1074649"/>
              <a:gd name="connsiteY8" fmla="*/ 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649" h="1028060">
                <a:moveTo>
                  <a:pt x="110258" y="0"/>
                </a:moveTo>
                <a:lnTo>
                  <a:pt x="1074649" y="0"/>
                </a:lnTo>
                <a:lnTo>
                  <a:pt x="1074649" y="1028060"/>
                </a:lnTo>
                <a:lnTo>
                  <a:pt x="110258" y="1028060"/>
                </a:lnTo>
                <a:cubicBezTo>
                  <a:pt x="49364" y="1028060"/>
                  <a:pt x="0" y="978696"/>
                  <a:pt x="0" y="917802"/>
                </a:cubicBezTo>
                <a:lnTo>
                  <a:pt x="0" y="772985"/>
                </a:lnTo>
                <a:lnTo>
                  <a:pt x="0" y="255075"/>
                </a:lnTo>
                <a:lnTo>
                  <a:pt x="0" y="110258"/>
                </a:lnTo>
                <a:cubicBezTo>
                  <a:pt x="0" y="49364"/>
                  <a:pt x="49364" y="0"/>
                  <a:pt x="110258" y="0"/>
                </a:cubicBezTo>
                <a:close/>
              </a:path>
            </a:pathLst>
          </a:custGeom>
        </p:spPr>
        <p:txBody>
          <a:bodyPr wrap="square">
            <a:noAutofit/>
          </a:bodyPr>
          <a:lstStyle/>
          <a:p>
            <a:r>
              <a:rPr lang="en-US"/>
              <a:t>Click icon to add picture</a:t>
            </a:r>
            <a:endParaRPr lang="en-GB"/>
          </a:p>
        </p:txBody>
      </p:sp>
      <p:sp>
        <p:nvSpPr>
          <p:cNvPr id="53" name="Text Placeholder 52">
            <a:extLst>
              <a:ext uri="{FF2B5EF4-FFF2-40B4-BE49-F238E27FC236}">
                <a16:creationId xmlns:a16="http://schemas.microsoft.com/office/drawing/2014/main" id="{6F49C1D9-7ABD-B9AE-493C-D91B1332D692}"/>
              </a:ext>
            </a:extLst>
          </p:cNvPr>
          <p:cNvSpPr>
            <a:spLocks noGrp="1"/>
          </p:cNvSpPr>
          <p:nvPr>
            <p:ph type="body" sz="quarter" idx="35"/>
          </p:nvPr>
        </p:nvSpPr>
        <p:spPr>
          <a:xfrm>
            <a:off x="7241663" y="5063204"/>
            <a:ext cx="4551872" cy="1028060"/>
          </a:xfrm>
          <a:custGeom>
            <a:avLst/>
            <a:gdLst>
              <a:gd name="connsiteX0" fmla="*/ 0 w 4551872"/>
              <a:gd name="connsiteY0" fmla="*/ 0 h 1028060"/>
              <a:gd name="connsiteX1" fmla="*/ 1585344 w 4551872"/>
              <a:gd name="connsiteY1" fmla="*/ 0 h 1028060"/>
              <a:gd name="connsiteX2" fmla="*/ 1891879 w 4551872"/>
              <a:gd name="connsiteY2" fmla="*/ 0 h 1028060"/>
              <a:gd name="connsiteX3" fmla="*/ 4441614 w 4551872"/>
              <a:gd name="connsiteY3" fmla="*/ 0 h 1028060"/>
              <a:gd name="connsiteX4" fmla="*/ 4551872 w 4551872"/>
              <a:gd name="connsiteY4" fmla="*/ 110258 h 1028060"/>
              <a:gd name="connsiteX5" fmla="*/ 4551872 w 4551872"/>
              <a:gd name="connsiteY5" fmla="*/ 255075 h 1028060"/>
              <a:gd name="connsiteX6" fmla="*/ 4551872 w 4551872"/>
              <a:gd name="connsiteY6" fmla="*/ 772985 h 1028060"/>
              <a:gd name="connsiteX7" fmla="*/ 4551872 w 4551872"/>
              <a:gd name="connsiteY7" fmla="*/ 917802 h 1028060"/>
              <a:gd name="connsiteX8" fmla="*/ 4441614 w 4551872"/>
              <a:gd name="connsiteY8" fmla="*/ 1028060 h 1028060"/>
              <a:gd name="connsiteX9" fmla="*/ 1891879 w 4551872"/>
              <a:gd name="connsiteY9" fmla="*/ 1028060 h 1028060"/>
              <a:gd name="connsiteX10" fmla="*/ 1585344 w 4551872"/>
              <a:gd name="connsiteY10" fmla="*/ 1028060 h 1028060"/>
              <a:gd name="connsiteX11" fmla="*/ 0 w 4551872"/>
              <a:gd name="connsiteY11" fmla="*/ 1028060 h 10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1872" h="1028060">
                <a:moveTo>
                  <a:pt x="0" y="0"/>
                </a:moveTo>
                <a:lnTo>
                  <a:pt x="1585344" y="0"/>
                </a:lnTo>
                <a:lnTo>
                  <a:pt x="1891879" y="0"/>
                </a:lnTo>
                <a:lnTo>
                  <a:pt x="4441614" y="0"/>
                </a:lnTo>
                <a:cubicBezTo>
                  <a:pt x="4502508" y="0"/>
                  <a:pt x="4551872" y="49364"/>
                  <a:pt x="4551872" y="110258"/>
                </a:cubicBezTo>
                <a:lnTo>
                  <a:pt x="4551872" y="255075"/>
                </a:lnTo>
                <a:lnTo>
                  <a:pt x="4551872" y="772985"/>
                </a:lnTo>
                <a:lnTo>
                  <a:pt x="4551872" y="917802"/>
                </a:lnTo>
                <a:cubicBezTo>
                  <a:pt x="4551872" y="978696"/>
                  <a:pt x="4502508" y="1028060"/>
                  <a:pt x="4441614" y="1028060"/>
                </a:cubicBezTo>
                <a:lnTo>
                  <a:pt x="1891879" y="1028060"/>
                </a:lnTo>
                <a:lnTo>
                  <a:pt x="1585344" y="1028060"/>
                </a:lnTo>
                <a:lnTo>
                  <a:pt x="0" y="1028060"/>
                </a:lnTo>
                <a:close/>
              </a:path>
            </a:pathLst>
          </a:custGeom>
          <a:solidFill>
            <a:srgbClr val="C7FFC6"/>
          </a:solidFill>
        </p:spPr>
        <p:txBody>
          <a:bodyPr wrap="square" lIns="180000" tIns="144000" rIns="252000">
            <a:noAutofit/>
          </a:bodyPr>
          <a:lstStyle>
            <a:lvl1pPr>
              <a:defRPr sz="1800">
                <a:solidFill>
                  <a:schemeClr val="tx1"/>
                </a:solidFill>
              </a:defRPr>
            </a:lvl1pPr>
            <a:lvl2pPr>
              <a:spcBef>
                <a:spcPts val="0"/>
              </a:spcBef>
              <a:defRPr sz="1400">
                <a:solidFill>
                  <a:schemeClr val="tx1"/>
                </a:solidFill>
              </a:defRPr>
            </a:lvl2pPr>
            <a:lvl3pPr>
              <a:defRPr sz="1050"/>
            </a:lvl3pPr>
            <a:lvl4pPr>
              <a:defRPr sz="1000"/>
            </a:lvl4pPr>
            <a:lvl5pPr>
              <a:defRPr sz="1000"/>
            </a:lvl5pPr>
          </a:lstStyle>
          <a:p>
            <a:pPr lvl="0"/>
            <a:r>
              <a:rPr lang="en-US"/>
              <a:t>Click to edit Master text styles</a:t>
            </a:r>
          </a:p>
          <a:p>
            <a:pPr lvl="1"/>
            <a:r>
              <a:rPr lang="en-US"/>
              <a:t>Second level</a:t>
            </a:r>
          </a:p>
        </p:txBody>
      </p:sp>
      <p:sp>
        <p:nvSpPr>
          <p:cNvPr id="9" name="Text Placeholder 9">
            <a:extLst>
              <a:ext uri="{FF2B5EF4-FFF2-40B4-BE49-F238E27FC236}">
                <a16:creationId xmlns:a16="http://schemas.microsoft.com/office/drawing/2014/main" id="{5654F61A-40DC-0ECF-01B6-937B465AAE03}"/>
              </a:ext>
            </a:extLst>
          </p:cNvPr>
          <p:cNvSpPr>
            <a:spLocks noGrp="1"/>
          </p:cNvSpPr>
          <p:nvPr>
            <p:ph type="body" sz="quarter" idx="29"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FB2118D-60F4-31FC-0AB3-678D6FA31079}"/>
              </a:ext>
            </a:extLst>
          </p:cNvPr>
          <p:cNvSpPr>
            <a:spLocks noGrp="1"/>
          </p:cNvSpPr>
          <p:nvPr>
            <p:ph type="dt" sz="half" idx="12"/>
          </p:nvPr>
        </p:nvSpPr>
        <p:spPr/>
        <p:txBody>
          <a:bodyPr/>
          <a:lstStyle/>
          <a:p>
            <a:fld id="{79B5AF2C-FDA2-4FE0-AB6E-5F602152AB6B}" type="datetime3">
              <a:rPr lang="en-GB" smtClean="0"/>
              <a:t>5 December, 2025</a:t>
            </a:fld>
            <a:endParaRPr lang="en-GB"/>
          </a:p>
        </p:txBody>
      </p:sp>
      <p:sp>
        <p:nvSpPr>
          <p:cNvPr id="3" name="Footer Placeholder 2">
            <a:extLst>
              <a:ext uri="{FF2B5EF4-FFF2-40B4-BE49-F238E27FC236}">
                <a16:creationId xmlns:a16="http://schemas.microsoft.com/office/drawing/2014/main" id="{D286D568-7CEA-C139-7A13-832404EF039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18DCC29F-8FFE-5F4A-B7D5-79EFC7AEE052}"/>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6" name="Rectangle 5">
            <a:extLst>
              <a:ext uri="{FF2B5EF4-FFF2-40B4-BE49-F238E27FC236}">
                <a16:creationId xmlns:a16="http://schemas.microsoft.com/office/drawing/2014/main" id="{7FFF1771-8FDE-3CA6-1AA5-B9FDAE2FD89F}"/>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s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03330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828801" y="2616597"/>
            <a:ext cx="8534400" cy="615553"/>
          </a:xfrm>
          <a:prstGeom prst="rect">
            <a:avLst/>
          </a:prstGeom>
        </p:spPr>
        <p:txBody>
          <a:bodyPr wrap="square" lIns="0" tIns="0" rIns="0" bIns="0">
            <a:spAutoFit/>
          </a:bodyPr>
          <a:lstStyle>
            <a:lvl1pPr algn="ctr">
              <a:defRPr sz="4000" b="1" i="0">
                <a:solidFill>
                  <a:schemeClr val="tx1"/>
                </a:solidFill>
                <a:latin typeface="GT Ultra Median Lloyds Black"/>
                <a:cs typeface="GT Ultra Median Lloyds Black"/>
              </a:defRPr>
            </a:lvl1pPr>
          </a:lstStyle>
          <a:p>
            <a:endParaRPr/>
          </a:p>
        </p:txBody>
      </p:sp>
      <p:sp>
        <p:nvSpPr>
          <p:cNvPr id="3" name="Holder 3"/>
          <p:cNvSpPr>
            <a:spLocks noGrp="1"/>
          </p:cNvSpPr>
          <p:nvPr>
            <p:ph type="subTitle" idx="4"/>
          </p:nvPr>
        </p:nvSpPr>
        <p:spPr>
          <a:xfrm>
            <a:off x="1828800" y="6389705"/>
            <a:ext cx="8534400" cy="184666"/>
          </a:xfrm>
          <a:prstGeom prst="rect">
            <a:avLst/>
          </a:prstGeom>
        </p:spPr>
        <p:txBody>
          <a:bodyPr wrap="square" lIns="0" tIns="0" rIns="0" bIns="0">
            <a:spAutoFit/>
          </a:bodyPr>
          <a:lstStyle>
            <a:lvl1pPr algn="ctr">
              <a:defRPr sz="1200" dirty="0">
                <a:latin typeface="GT Ultra Lloyds Regular" pitchFamily="50" charset="0"/>
              </a:defRPr>
            </a:lvl1pPr>
          </a:lstStyle>
          <a:p>
            <a:endParaRPr/>
          </a:p>
        </p:txBody>
      </p:sp>
      <p:sp>
        <p:nvSpPr>
          <p:cNvPr id="7" name="Holder 3">
            <a:extLst>
              <a:ext uri="{FF2B5EF4-FFF2-40B4-BE49-F238E27FC236}">
                <a16:creationId xmlns:a16="http://schemas.microsoft.com/office/drawing/2014/main" id="{DC6F53B4-0EF5-5501-1812-1C539ADBBABC}"/>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B2DF80E5-051D-DFCB-0C55-2BD372ACA0E1}"/>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5/2025</a:t>
            </a:fld>
            <a:endParaRPr lang="en-US"/>
          </a:p>
        </p:txBody>
      </p:sp>
      <p:sp>
        <p:nvSpPr>
          <p:cNvPr id="9" name="Holder 5">
            <a:extLst>
              <a:ext uri="{FF2B5EF4-FFF2-40B4-BE49-F238E27FC236}">
                <a16:creationId xmlns:a16="http://schemas.microsoft.com/office/drawing/2014/main" id="{C36A888F-D1B0-3F7E-9F34-03ED3697889B}"/>
              </a:ext>
            </a:extLst>
          </p:cNvPr>
          <p:cNvSpPr>
            <a:spLocks noGrp="1"/>
          </p:cNvSpPr>
          <p:nvPr>
            <p:ph type="sldNum" sz="quarter" idx="7"/>
          </p:nvPr>
        </p:nvSpPr>
        <p:spPr>
          <a:xfrm>
            <a:off x="11631784" y="6558788"/>
            <a:ext cx="407816" cy="162052"/>
          </a:xfrm>
        </p:spPr>
        <p:txBody>
          <a:bodyPr lIns="0" tIns="0" rIns="0" bIns="0"/>
          <a:lstStyle>
            <a:lvl1pPr>
              <a:defRPr sz="12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Tree>
    <p:extLst>
      <p:ext uri="{BB962C8B-B14F-4D97-AF65-F5344CB8AC3E}">
        <p14:creationId xmlns:p14="http://schemas.microsoft.com/office/powerpoint/2010/main" val="4005997428"/>
      </p:ext>
    </p:extLst>
  </p:cSld>
  <p:clrMapOvr>
    <a:masterClrMapping/>
  </p:clrMapOvr>
  <p:extLst>
    <p:ext uri="{DCECCB84-F9BA-43D5-87BE-67443E8EF086}">
      <p15:sldGuideLst xmlns:p15="http://schemas.microsoft.com/office/powerpoint/2012/main"/>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reserve="1">
  <p:cSld name="Basic-Title-and-Content">
    <p:spTree>
      <p:nvGrpSpPr>
        <p:cNvPr id="1" name=""/>
        <p:cNvGrpSpPr/>
        <p:nvPr/>
      </p:nvGrpSpPr>
      <p:grpSpPr>
        <a:xfrm>
          <a:off x="0" y="0"/>
          <a:ext cx="0" cy="0"/>
          <a:chOff x="0" y="0"/>
          <a:chExt cx="0" cy="0"/>
        </a:xfrm>
      </p:grpSpPr>
      <p:sp>
        <p:nvSpPr>
          <p:cNvPr id="2" name="Holder 2"/>
          <p:cNvSpPr>
            <a:spLocks noGrp="1"/>
          </p:cNvSpPr>
          <p:nvPr>
            <p:ph type="title"/>
          </p:nvPr>
        </p:nvSpPr>
        <p:spPr>
          <a:xfrm>
            <a:off x="237600" y="223200"/>
            <a:ext cx="8900795" cy="585664"/>
          </a:xfrm>
        </p:spPr>
        <p:txBody>
          <a:bodyPr lIns="36000" tIns="36000" rIns="36000" bIns="36000"/>
          <a:lstStyle>
            <a:lvl1pPr>
              <a:defRPr sz="4000" b="1" i="0">
                <a:solidFill>
                  <a:schemeClr val="tx1"/>
                </a:solidFill>
                <a:latin typeface="GT Ultra Median Lloyds Black"/>
                <a:cs typeface="GT Ultra Median Lloyds Black"/>
              </a:defRPr>
            </a:lvl1pPr>
          </a:lstStyle>
          <a:p>
            <a:endParaRPr/>
          </a:p>
        </p:txBody>
      </p:sp>
      <p:sp>
        <p:nvSpPr>
          <p:cNvPr id="3" name="Holder 3"/>
          <p:cNvSpPr>
            <a:spLocks noGrp="1"/>
          </p:cNvSpPr>
          <p:nvPr>
            <p:ph type="body" idx="1"/>
          </p:nvPr>
        </p:nvSpPr>
        <p:spPr>
          <a:xfrm>
            <a:off x="288006" y="1918252"/>
            <a:ext cx="11353661" cy="3778250"/>
          </a:xfrm>
        </p:spPr>
        <p:txBody>
          <a:bodyPr lIns="0" tIns="0" rIns="0" bIns="0"/>
          <a:lstStyle>
            <a:lvl1pPr>
              <a:defRPr b="0" i="0">
                <a:solidFill>
                  <a:schemeClr val="tx1"/>
                </a:solidFill>
              </a:defRPr>
            </a:lvl1pPr>
          </a:lstStyle>
          <a:p>
            <a:endParaRPr/>
          </a:p>
        </p:txBody>
      </p:sp>
      <p:sp>
        <p:nvSpPr>
          <p:cNvPr id="7" name="Holder 3">
            <a:extLst>
              <a:ext uri="{FF2B5EF4-FFF2-40B4-BE49-F238E27FC236}">
                <a16:creationId xmlns:a16="http://schemas.microsoft.com/office/drawing/2014/main" id="{3ED300CC-9FE2-BBCE-9718-EB7AB2F59DEF}"/>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C660E3C3-D16E-F919-2194-3AD08F193B63}"/>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5/2025</a:t>
            </a:fld>
            <a:endParaRPr lang="en-US"/>
          </a:p>
        </p:txBody>
      </p:sp>
      <p:sp>
        <p:nvSpPr>
          <p:cNvPr id="9" name="Holder 5">
            <a:extLst>
              <a:ext uri="{FF2B5EF4-FFF2-40B4-BE49-F238E27FC236}">
                <a16:creationId xmlns:a16="http://schemas.microsoft.com/office/drawing/2014/main" id="{6BD37182-23B5-F688-D3D0-E6545FCD4245}"/>
              </a:ext>
            </a:extLst>
          </p:cNvPr>
          <p:cNvSpPr>
            <a:spLocks noGrp="1"/>
          </p:cNvSpPr>
          <p:nvPr>
            <p:ph type="sldNum" sz="quarter" idx="7"/>
          </p:nvPr>
        </p:nvSpPr>
        <p:spPr>
          <a:xfrm>
            <a:off x="11631784" y="6558788"/>
            <a:ext cx="407816" cy="162052"/>
          </a:xfrm>
        </p:spPr>
        <p:txBody>
          <a:bodyPr lIns="0" tIns="0" rIns="0" bIns="0"/>
          <a:lstStyle>
            <a:lvl1pPr>
              <a:defRPr sz="1100" b="0" i="0">
                <a:solidFill>
                  <a:schemeClr val="tx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pPr marL="137795">
                <a:lnSpc>
                  <a:spcPts val="1420"/>
                </a:lnSpc>
              </a:pPr>
              <a:t>‹#›</a:t>
            </a:fld>
            <a:endParaRPr lang="en-GB" spc="-50"/>
          </a:p>
        </p:txBody>
      </p:sp>
    </p:spTree>
    <p:extLst>
      <p:ext uri="{BB962C8B-B14F-4D97-AF65-F5344CB8AC3E}">
        <p14:creationId xmlns:p14="http://schemas.microsoft.com/office/powerpoint/2010/main" val="143517718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Basic-Title-Only">
    <p:bg>
      <p:bgPr>
        <a:solidFill>
          <a:schemeClr val="bg1"/>
        </a:solidFill>
        <a:effectLst/>
      </p:bgPr>
    </p:bg>
    <p:spTree>
      <p:nvGrpSpPr>
        <p:cNvPr id="1" name=""/>
        <p:cNvGrpSpPr/>
        <p:nvPr/>
      </p:nvGrpSpPr>
      <p:grpSpPr>
        <a:xfrm>
          <a:off x="0" y="0"/>
          <a:ext cx="0" cy="0"/>
          <a:chOff x="0" y="0"/>
          <a:chExt cx="0" cy="0"/>
        </a:xfrm>
      </p:grpSpPr>
      <p:sp>
        <p:nvSpPr>
          <p:cNvPr id="6" name="Holder 3">
            <a:extLst>
              <a:ext uri="{FF2B5EF4-FFF2-40B4-BE49-F238E27FC236}">
                <a16:creationId xmlns:a16="http://schemas.microsoft.com/office/drawing/2014/main" id="{D41C2DED-4C1F-0EC4-13F5-1B6846CBF630}"/>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7" name="Holder 4">
            <a:extLst>
              <a:ext uri="{FF2B5EF4-FFF2-40B4-BE49-F238E27FC236}">
                <a16:creationId xmlns:a16="http://schemas.microsoft.com/office/drawing/2014/main" id="{305BAE11-06C1-F9E1-BBF6-491C080B4D00}"/>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5/2025</a:t>
            </a:fld>
            <a:endParaRPr lang="en-US"/>
          </a:p>
        </p:txBody>
      </p:sp>
      <p:sp>
        <p:nvSpPr>
          <p:cNvPr id="8" name="Holder 5">
            <a:extLst>
              <a:ext uri="{FF2B5EF4-FFF2-40B4-BE49-F238E27FC236}">
                <a16:creationId xmlns:a16="http://schemas.microsoft.com/office/drawing/2014/main" id="{9094B36E-66BA-1FDA-8D24-49398ABD7263}"/>
              </a:ext>
            </a:extLst>
          </p:cNvPr>
          <p:cNvSpPr>
            <a:spLocks noGrp="1"/>
          </p:cNvSpPr>
          <p:nvPr>
            <p:ph type="sldNum" sz="quarter" idx="7"/>
          </p:nvPr>
        </p:nvSpPr>
        <p:spPr>
          <a:xfrm>
            <a:off x="11631784" y="6558788"/>
            <a:ext cx="407816" cy="162052"/>
          </a:xfrm>
        </p:spPr>
        <p:txBody>
          <a:bodyPr lIns="0" tIns="0" rIns="0" bIns="0"/>
          <a:lstStyle>
            <a:lvl1pPr>
              <a:defRPr sz="12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
        <p:nvSpPr>
          <p:cNvPr id="3" name="Title 1">
            <a:extLst>
              <a:ext uri="{FF2B5EF4-FFF2-40B4-BE49-F238E27FC236}">
                <a16:creationId xmlns:a16="http://schemas.microsoft.com/office/drawing/2014/main" id="{9ADD1000-DB61-3027-A17C-FBDEF7F6D77A}"/>
              </a:ext>
            </a:extLst>
          </p:cNvPr>
          <p:cNvSpPr>
            <a:spLocks noGrp="1"/>
          </p:cNvSpPr>
          <p:nvPr>
            <p:ph type="title"/>
          </p:nvPr>
        </p:nvSpPr>
        <p:spPr>
          <a:xfrm>
            <a:off x="237600" y="223200"/>
            <a:ext cx="11546173" cy="630944"/>
          </a:xfrm>
          <a:prstGeom prst="rect">
            <a:avLst/>
          </a:prstGeom>
        </p:spPr>
        <p:txBody>
          <a:bodyPr>
            <a:noAutofit/>
          </a:bodyPr>
          <a:lstStyle>
            <a:lvl1pPr algn="l">
              <a:lnSpc>
                <a:spcPts val="4000"/>
              </a:lnSpc>
              <a:defRPr sz="4000" b="1" i="0">
                <a:latin typeface="GT Ultra Median Lloyds Black" pitchFamily="2" charset="77"/>
              </a:defRPr>
            </a:lvl1pPr>
          </a:lstStyle>
          <a:p>
            <a:r>
              <a:rPr lang="en-US"/>
              <a:t>Click to edit Master title style</a:t>
            </a:r>
            <a:endParaRPr lang="en-GB"/>
          </a:p>
        </p:txBody>
      </p:sp>
    </p:spTree>
    <p:extLst>
      <p:ext uri="{BB962C8B-B14F-4D97-AF65-F5344CB8AC3E}">
        <p14:creationId xmlns:p14="http://schemas.microsoft.com/office/powerpoint/2010/main" val="355027097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4653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FD52A-DC66-9A41-318D-F8E1652C8794}"/>
              </a:ext>
            </a:extLst>
          </p:cNvPr>
          <p:cNvSpPr>
            <a:spLocks noGrp="1"/>
          </p:cNvSpPr>
          <p:nvPr>
            <p:ph type="title"/>
          </p:nvPr>
        </p:nvSpPr>
        <p:spPr>
          <a:xfrm>
            <a:off x="237600" y="223200"/>
            <a:ext cx="11546173" cy="630944"/>
          </a:xfrm>
        </p:spPr>
        <p:txBody>
          <a:bodyPr>
            <a:noAutofit/>
          </a:bodyPr>
          <a:lstStyle>
            <a:lvl1pPr algn="l">
              <a:lnSpc>
                <a:spcPts val="4000"/>
              </a:lnSpc>
              <a:defRPr sz="4000" b="1" i="0">
                <a:latin typeface="GT Ultra Median Lloyds Black" pitchFamily="2" charset="77"/>
              </a:defRPr>
            </a:lvl1pPr>
          </a:lstStyle>
          <a:p>
            <a:r>
              <a:rPr lang="en-US"/>
              <a:t>Click to edit Master title style</a:t>
            </a:r>
            <a:endParaRPr lang="en-GB"/>
          </a:p>
        </p:txBody>
      </p:sp>
      <p:sp>
        <p:nvSpPr>
          <p:cNvPr id="8" name="Slide Number Placeholder 5">
            <a:extLst>
              <a:ext uri="{FF2B5EF4-FFF2-40B4-BE49-F238E27FC236}">
                <a16:creationId xmlns:a16="http://schemas.microsoft.com/office/drawing/2014/main" id="{5FC8A992-48AA-A4C4-4CB9-083B21636A04}"/>
              </a:ext>
            </a:extLst>
          </p:cNvPr>
          <p:cNvSpPr>
            <a:spLocks noGrp="1"/>
          </p:cNvSpPr>
          <p:nvPr>
            <p:ph type="sldNum" sz="quarter" idx="4"/>
          </p:nvPr>
        </p:nvSpPr>
        <p:spPr>
          <a:xfrm>
            <a:off x="10947400" y="6554926"/>
            <a:ext cx="916071" cy="204591"/>
          </a:xfrm>
          <a:prstGeom prst="rect">
            <a:avLst/>
          </a:prstGeom>
        </p:spPr>
        <p:txBody>
          <a:bodyPr vert="horz" lIns="90000" tIns="45720" rIns="0" bIns="45720" rtlCol="0" anchor="ctr"/>
          <a:lstStyle>
            <a:lvl1pPr algn="r">
              <a:lnSpc>
                <a:spcPts val="1440"/>
              </a:lnSpc>
              <a:defRPr lang="en-GB" sz="1200" kern="1200" smtClean="0">
                <a:solidFill>
                  <a:schemeClr val="tx1"/>
                </a:solidFill>
                <a:latin typeface="GT Ultra Lloyds Light" pitchFamily="50" charset="0"/>
                <a:ea typeface="+mn-ea"/>
                <a:cs typeface="+mn-cs"/>
              </a:defRPr>
            </a:lvl1pPr>
          </a:lstStyle>
          <a:p>
            <a:fld id="{C3990253-BAA6-4DC5-B65D-3CE789B62977}" type="slidenum">
              <a:rPr lang="en-GB" smtClean="0"/>
              <a:pPr/>
              <a:t>‹#›</a:t>
            </a:fld>
            <a:endParaRPr lang="en-GB"/>
          </a:p>
        </p:txBody>
      </p:sp>
    </p:spTree>
    <p:extLst>
      <p:ext uri="{BB962C8B-B14F-4D97-AF65-F5344CB8AC3E}">
        <p14:creationId xmlns:p14="http://schemas.microsoft.com/office/powerpoint/2010/main" val="3764334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9764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LB-Default-Template-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957541F-8AB8-FA28-D93D-76BFB76E402C}"/>
              </a:ext>
            </a:extLst>
          </p:cNvPr>
          <p:cNvSpPr>
            <a:spLocks noGrp="1"/>
          </p:cNvSpPr>
          <p:nvPr>
            <p:ph type="sldNum" sz="quarter" idx="12"/>
          </p:nvPr>
        </p:nvSpPr>
        <p:spPr>
          <a:xfrm>
            <a:off x="9205517" y="6397915"/>
            <a:ext cx="2743200" cy="365125"/>
          </a:xfrm>
          <a:prstGeom prst="rect">
            <a:avLst/>
          </a:prstGeom>
        </p:spPr>
        <p:txBody>
          <a:bodyPr/>
          <a:lstStyle>
            <a:lvl1pPr>
              <a:defRPr b="0" i="0">
                <a:latin typeface="Arial" panose="020B0604020202020204" pitchFamily="34" charset="0"/>
              </a:defRPr>
            </a:lvl1pPr>
          </a:lstStyle>
          <a:p>
            <a:fld id="{C3990253-BAA6-4DC5-B65D-3CE789B62977}" type="slidenum">
              <a:rPr lang="en-GB" smtClean="0"/>
              <a:pPr/>
              <a:t>‹#›</a:t>
            </a:fld>
            <a:endParaRPr lang="en-GB"/>
          </a:p>
        </p:txBody>
      </p:sp>
      <p:sp>
        <p:nvSpPr>
          <p:cNvPr id="5" name="Text Placeholder 2">
            <a:extLst>
              <a:ext uri="{FF2B5EF4-FFF2-40B4-BE49-F238E27FC236}">
                <a16:creationId xmlns:a16="http://schemas.microsoft.com/office/drawing/2014/main" id="{00E8E804-F676-8A52-3558-0917117EF4E6}"/>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1">
            <a:extLst>
              <a:ext uri="{FF2B5EF4-FFF2-40B4-BE49-F238E27FC236}">
                <a16:creationId xmlns:a16="http://schemas.microsoft.com/office/drawing/2014/main" id="{1D266E7B-89E5-FBC2-AAF2-0DD6A3B8ED8F}"/>
              </a:ext>
            </a:extLst>
          </p:cNvPr>
          <p:cNvSpPr>
            <a:spLocks noGrp="1"/>
          </p:cNvSpPr>
          <p:nvPr>
            <p:ph type="title"/>
          </p:nvPr>
        </p:nvSpPr>
        <p:spPr>
          <a:xfrm>
            <a:off x="237600" y="223200"/>
            <a:ext cx="11546173" cy="630944"/>
          </a:xfrm>
          <a:prstGeom prst="rect">
            <a:avLst/>
          </a:prstGeom>
        </p:spPr>
        <p:txBody>
          <a:bodyPr>
            <a:noAutofit/>
          </a:bodyPr>
          <a:lstStyle>
            <a:lvl1pPr algn="l">
              <a:lnSpc>
                <a:spcPts val="4000"/>
              </a:lnSpc>
              <a:defRPr sz="4000" b="1" i="0">
                <a:latin typeface="GT Ultra Median Lloyds Black" pitchFamily="2" charset="77"/>
              </a:defRPr>
            </a:lvl1pPr>
          </a:lstStyle>
          <a:p>
            <a:r>
              <a:rPr lang="en-US"/>
              <a:t>Click to edit Master title style</a:t>
            </a:r>
            <a:endParaRPr lang="en-GB"/>
          </a:p>
        </p:txBody>
      </p:sp>
    </p:spTree>
    <p:extLst>
      <p:ext uri="{BB962C8B-B14F-4D97-AF65-F5344CB8AC3E}">
        <p14:creationId xmlns:p14="http://schemas.microsoft.com/office/powerpoint/2010/main" val="25968822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Split title layout - Woman smiling">
    <p:spTree>
      <p:nvGrpSpPr>
        <p:cNvPr id="1" name=""/>
        <p:cNvGrpSpPr/>
        <p:nvPr/>
      </p:nvGrpSpPr>
      <p:grpSpPr>
        <a:xfrm>
          <a:off x="0" y="0"/>
          <a:ext cx="0" cy="0"/>
          <a:chOff x="0" y="0"/>
          <a:chExt cx="0" cy="0"/>
        </a:xfrm>
      </p:grpSpPr>
      <p:sp>
        <p:nvSpPr>
          <p:cNvPr id="3" name="Title 12">
            <a:extLst>
              <a:ext uri="{FF2B5EF4-FFF2-40B4-BE49-F238E27FC236}">
                <a16:creationId xmlns:a16="http://schemas.microsoft.com/office/drawing/2014/main" id="{0FFF8864-3C06-5670-E70B-0A849F872B75}"/>
              </a:ext>
            </a:extLst>
          </p:cNvPr>
          <p:cNvSpPr>
            <a:spLocks noGrp="1"/>
          </p:cNvSpPr>
          <p:nvPr>
            <p:ph type="title"/>
          </p:nvPr>
        </p:nvSpPr>
        <p:spPr>
          <a:xfrm>
            <a:off x="558307" y="2732395"/>
            <a:ext cx="4976876" cy="1325563"/>
          </a:xfrm>
          <a:prstGeom prst="rect">
            <a:avLst/>
          </a:prstGeom>
        </p:spPr>
        <p:txBody>
          <a:bodyPr/>
          <a:lstStyle>
            <a:lvl1pPr algn="ctr">
              <a:lnSpc>
                <a:spcPts val="5000"/>
              </a:lnSpc>
              <a:defRPr sz="5000" spc="-20" baseline="0">
                <a:latin typeface="GT Ultra Median Lloyds Black" panose="020B0604020202020204" charset="0"/>
              </a:defRPr>
            </a:lvl1pPr>
          </a:lstStyle>
          <a:p>
            <a:r>
              <a:rPr lang="en-US"/>
              <a:t>Click to edit Master title style</a:t>
            </a:r>
            <a:endParaRPr lang="en-GB"/>
          </a:p>
        </p:txBody>
      </p:sp>
      <p:pic>
        <p:nvPicPr>
          <p:cNvPr id="8" name="Picture 7" descr="A lady smiling wearing a denim top, smiling while holding a mobile phone in her hand">
            <a:extLst>
              <a:ext uri="{FF2B5EF4-FFF2-40B4-BE49-F238E27FC236}">
                <a16:creationId xmlns:a16="http://schemas.microsoft.com/office/drawing/2014/main" id="{7EE4E2FB-D40B-DE1C-01B7-44E7D93A13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14" name="Text Placeholder 10">
            <a:extLst>
              <a:ext uri="{FF2B5EF4-FFF2-40B4-BE49-F238E27FC236}">
                <a16:creationId xmlns:a16="http://schemas.microsoft.com/office/drawing/2014/main" id="{1C69010D-29EC-AD2A-46B1-3B379A348719}"/>
              </a:ext>
            </a:extLst>
          </p:cNvPr>
          <p:cNvSpPr>
            <a:spLocks noGrp="1"/>
          </p:cNvSpPr>
          <p:nvPr>
            <p:ph type="body" sz="quarter" idx="12" hasCustomPrompt="1"/>
          </p:nvPr>
        </p:nvSpPr>
        <p:spPr>
          <a:xfrm>
            <a:off x="1607676" y="6286174"/>
            <a:ext cx="2878137" cy="256029"/>
          </a:xfrm>
          <a:prstGeom prst="rect">
            <a:avLst/>
          </a:prstGeom>
        </p:spPr>
        <p:txBody>
          <a:bodyPr/>
          <a:lstStyle>
            <a:lvl1pPr marL="0" indent="0" algn="ctr">
              <a:buNone/>
              <a:defRPr sz="1200">
                <a:latin typeface="GT Ultra Lloyds Light" panose="020B0604020202020204" charset="0"/>
              </a:defRPr>
            </a:lvl1pPr>
          </a:lstStyle>
          <a:p>
            <a:pPr lvl="0"/>
            <a:r>
              <a:rPr lang="en-GB"/>
              <a:t>1 July 2024</a:t>
            </a:r>
          </a:p>
          <a:p>
            <a:pPr lvl="0"/>
            <a:endParaRPr lang="en-GB"/>
          </a:p>
        </p:txBody>
      </p:sp>
      <p:sp>
        <p:nvSpPr>
          <p:cNvPr id="19" name="Text Placeholder 18">
            <a:extLst>
              <a:ext uri="{FF2B5EF4-FFF2-40B4-BE49-F238E27FC236}">
                <a16:creationId xmlns:a16="http://schemas.microsoft.com/office/drawing/2014/main" id="{0C9A3BC9-9409-29C0-0B84-B27469BFEF56}"/>
              </a:ext>
            </a:extLst>
          </p:cNvPr>
          <p:cNvSpPr>
            <a:spLocks noGrp="1"/>
          </p:cNvSpPr>
          <p:nvPr>
            <p:ph type="body" sz="quarter" idx="15"/>
          </p:nvPr>
        </p:nvSpPr>
        <p:spPr>
          <a:xfrm>
            <a:off x="1938279" y="4900843"/>
            <a:ext cx="2216150" cy="539750"/>
          </a:xfrm>
          <a:prstGeom prst="roundRect">
            <a:avLst>
              <a:gd name="adj" fmla="val 11373"/>
            </a:avLst>
          </a:prstGeom>
          <a:solidFill>
            <a:srgbClr val="C7FFC6"/>
          </a:solidFill>
        </p:spPr>
        <p:txBody>
          <a:bodyPr anchor="ctr"/>
          <a:lstStyle>
            <a:lvl1pPr marL="0" indent="0" algn="ctr">
              <a:buNone/>
              <a:defRPr sz="1800">
                <a:solidFill>
                  <a:srgbClr val="323233"/>
                </a:solidFill>
                <a:latin typeface="GT Ultra Lloyds Light" panose="020B0604020202020204" charset="0"/>
              </a:defRPr>
            </a:lvl1pPr>
            <a:lvl2pPr marL="457200" indent="0" algn="ctr">
              <a:buNone/>
              <a:defRPr sz="1800">
                <a:latin typeface="GT Ultra Lloyds Light" panose="020B0604020202020204" charset="0"/>
              </a:defRPr>
            </a:lvl2pPr>
            <a:lvl3pPr marL="914400" indent="0" algn="ctr">
              <a:buNone/>
              <a:defRPr sz="1800">
                <a:latin typeface="GT Ultra Lloyds Light" panose="020B0604020202020204" charset="0"/>
              </a:defRPr>
            </a:lvl3pPr>
            <a:lvl4pPr marL="1371600" indent="0" algn="ctr">
              <a:buNone/>
              <a:defRPr sz="1800">
                <a:latin typeface="GT Ultra Lloyds Light" panose="020B0604020202020204" charset="0"/>
              </a:defRPr>
            </a:lvl4pPr>
            <a:lvl5pPr marL="1828800" indent="0" algn="ctr">
              <a:buNone/>
              <a:defRPr sz="1800">
                <a:latin typeface="GT Ultra Lloyds Light" panose="020B0604020202020204" charset="0"/>
              </a:defRPr>
            </a:lvl5pPr>
          </a:lstStyle>
          <a:p>
            <a:pPr lvl="0"/>
            <a:r>
              <a:rPr lang="en-US"/>
              <a:t>Click to edit Master text styles</a:t>
            </a:r>
          </a:p>
        </p:txBody>
      </p:sp>
      <p:pic>
        <p:nvPicPr>
          <p:cNvPr id="2" name="Graphic 1">
            <a:extLst>
              <a:ext uri="{FF2B5EF4-FFF2-40B4-BE49-F238E27FC236}">
                <a16:creationId xmlns:a16="http://schemas.microsoft.com/office/drawing/2014/main" id="{0D012E5E-4C6E-3085-ED1B-F3CF2A214F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30720" y="310834"/>
            <a:ext cx="1396534" cy="980451"/>
          </a:xfrm>
          <a:prstGeom prst="rect">
            <a:avLst/>
          </a:prstGeom>
        </p:spPr>
      </p:pic>
    </p:spTree>
    <p:extLst>
      <p:ext uri="{BB962C8B-B14F-4D97-AF65-F5344CB8AC3E}">
        <p14:creationId xmlns:p14="http://schemas.microsoft.com/office/powerpoint/2010/main" val="196741073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ED03446-8F6A-7612-3970-23FAD981EB79}"/>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1141095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84118079-9E77-74CB-D481-BF6575CFDACE}"/>
              </a:ext>
            </a:extLst>
          </p:cNvPr>
          <p:cNvSpPr>
            <a:spLocks noGrp="1"/>
          </p:cNvSpPr>
          <p:nvPr>
            <p:ph type="body" sz="quarter" idx="14"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302D8425-4089-4CBB-BCA2-2DB3E621226E}"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37412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Three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57CF0-520E-43C1-08A5-497543FB3368}"/>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A55E9A31-B2E6-5F9C-91F2-15F1C8C88F6B}"/>
              </a:ext>
            </a:extLst>
          </p:cNvPr>
          <p:cNvSpPr>
            <a:spLocks noGrp="1"/>
          </p:cNvSpPr>
          <p:nvPr>
            <p:ph sz="quarter" idx="19"/>
          </p:nvPr>
        </p:nvSpPr>
        <p:spPr>
          <a:xfrm>
            <a:off x="382592"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C99D90AE-1D4A-8562-E607-F9C3BFB42E60}"/>
              </a:ext>
            </a:extLst>
          </p:cNvPr>
          <p:cNvSpPr>
            <a:spLocks noGrp="1"/>
          </p:cNvSpPr>
          <p:nvPr>
            <p:ph sz="quarter" idx="20"/>
          </p:nvPr>
        </p:nvSpPr>
        <p:spPr>
          <a:xfrm>
            <a:off x="4232928"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402B3065-0365-F69D-6FF8-D32E0BF69D56}"/>
              </a:ext>
            </a:extLst>
          </p:cNvPr>
          <p:cNvSpPr>
            <a:spLocks noGrp="1"/>
          </p:cNvSpPr>
          <p:nvPr>
            <p:ph sz="quarter" idx="21"/>
          </p:nvPr>
        </p:nvSpPr>
        <p:spPr>
          <a:xfrm>
            <a:off x="8083263"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006A4D"/>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F02679CB-E303-219C-E924-B0C87EA03969}"/>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17024DF-11DA-4BB2-85CC-3FB4D8D48A0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
        <p:nvSpPr>
          <p:cNvPr id="16" name="Rectangle 15">
            <a:extLst>
              <a:ext uri="{FF2B5EF4-FFF2-40B4-BE49-F238E27FC236}">
                <a16:creationId xmlns:a16="http://schemas.microsoft.com/office/drawing/2014/main" id="{8152D457-B3EC-70E3-5E52-51007B72394A}"/>
              </a:ext>
            </a:extLst>
          </p:cNvPr>
          <p:cNvSpPr/>
          <p:nvPr/>
        </p:nvSpPr>
        <p:spPr>
          <a:xfrm>
            <a:off x="0" y="6959600"/>
            <a:ext cx="1129284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colour of the rectangles can be changed by using the “Shape Fill” option in the ‘Shape Format’ tab. Keep text and shape fill at high contrast to allow maximum accessibility. </a:t>
            </a:r>
          </a:p>
        </p:txBody>
      </p:sp>
    </p:spTree>
    <p:extLst>
      <p:ext uri="{BB962C8B-B14F-4D97-AF65-F5344CB8AC3E}">
        <p14:creationId xmlns:p14="http://schemas.microsoft.com/office/powerpoint/2010/main" val="376667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Slide (Full bleed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77D942-9A9A-46E5-40A2-3F0F26A49BC4}"/>
              </a:ext>
              <a:ext uri="{C183D7F6-B498-43B3-948B-1728B52AA6E4}">
                <adec:decorative xmlns:adec="http://schemas.microsoft.com/office/drawing/2017/decorative" val="1"/>
              </a:ext>
            </a:extLst>
          </p:cNvPr>
          <p:cNvSpPr/>
          <p:nvPr userDrawn="1"/>
        </p:nvSpPr>
        <p:spPr>
          <a:xfrm>
            <a:off x="0" y="0"/>
            <a:ext cx="12192000" cy="3393325"/>
          </a:xfrm>
          <a:prstGeom prst="rect">
            <a:avLst/>
          </a:prstGeom>
          <a:gradFill>
            <a:gsLst>
              <a:gs pos="1000">
                <a:schemeClr val="bg1">
                  <a:alpha val="62000"/>
                </a:schemeClr>
              </a:gs>
              <a:gs pos="100000">
                <a:schemeClr val="bg1">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descr="Lloyds Banking Group logo">
            <a:extLst>
              <a:ext uri="{FF2B5EF4-FFF2-40B4-BE49-F238E27FC236}">
                <a16:creationId xmlns:a16="http://schemas.microsoft.com/office/drawing/2014/main" id="{519C24BE-B925-E24C-E38E-64867AF8DC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3393" y="527129"/>
            <a:ext cx="1320657" cy="1113182"/>
          </a:xfrm>
          <a:prstGeom prst="rect">
            <a:avLst/>
          </a:prstGeom>
        </p:spPr>
      </p:pic>
      <p:sp>
        <p:nvSpPr>
          <p:cNvPr id="15" name="Title 14">
            <a:extLst>
              <a:ext uri="{FF2B5EF4-FFF2-40B4-BE49-F238E27FC236}">
                <a16:creationId xmlns:a16="http://schemas.microsoft.com/office/drawing/2014/main" id="{3B4209EC-FE27-C57D-39A4-CC8F78966AF2}"/>
              </a:ext>
            </a:extLst>
          </p:cNvPr>
          <p:cNvSpPr>
            <a:spLocks noGrp="1"/>
          </p:cNvSpPr>
          <p:nvPr>
            <p:ph type="title"/>
          </p:nvPr>
        </p:nvSpPr>
        <p:spPr>
          <a:xfrm>
            <a:off x="838200" y="1958975"/>
            <a:ext cx="10515600" cy="1377950"/>
          </a:xfrm>
          <a:prstGeom prst="rect">
            <a:avLst/>
          </a:prstGeom>
        </p:spPr>
        <p:txBody>
          <a:bodyPr vert="horz" anchor="ctr"/>
          <a:lstStyle>
            <a:lvl1pPr algn="ctr">
              <a:defRPr sz="4400" spc="-20" baseline="0">
                <a:latin typeface="GT Ultra Median Lloyds Black" panose="020B0604020202020204" charset="0"/>
              </a:defRPr>
            </a:lvl1pPr>
          </a:lstStyle>
          <a:p>
            <a:r>
              <a:rPr lang="en-US"/>
              <a:t>Click to edit Master title style</a:t>
            </a:r>
            <a:endParaRPr lang="en-GB"/>
          </a:p>
        </p:txBody>
      </p:sp>
      <p:sp>
        <p:nvSpPr>
          <p:cNvPr id="25" name="Text Placeholder 3">
            <a:extLst>
              <a:ext uri="{FF2B5EF4-FFF2-40B4-BE49-F238E27FC236}">
                <a16:creationId xmlns:a16="http://schemas.microsoft.com/office/drawing/2014/main" id="{64E83FE9-10F3-9789-FA30-B0A08C7E037E}"/>
              </a:ext>
            </a:extLst>
          </p:cNvPr>
          <p:cNvSpPr>
            <a:spLocks noGrp="1"/>
          </p:cNvSpPr>
          <p:nvPr>
            <p:ph type="body" sz="quarter" idx="10"/>
          </p:nvPr>
        </p:nvSpPr>
        <p:spPr>
          <a:xfrm>
            <a:off x="838200" y="3393325"/>
            <a:ext cx="10515600" cy="773765"/>
          </a:xfrm>
        </p:spPr>
        <p:txBody>
          <a:bodyPr anchor="ctr"/>
          <a:lstStyle>
            <a:lvl1pPr algn="ctr">
              <a:lnSpc>
                <a:spcPct val="100000"/>
              </a:lnSpc>
              <a:defRPr b="0"/>
            </a:lvl1pPr>
          </a:lstStyle>
          <a:p>
            <a:pPr lvl="0"/>
            <a:r>
              <a:rPr lang="en-US"/>
              <a:t>Click to edit Master text styles</a:t>
            </a:r>
          </a:p>
        </p:txBody>
      </p:sp>
      <p:sp>
        <p:nvSpPr>
          <p:cNvPr id="29" name="Date Placeholder 28">
            <a:extLst>
              <a:ext uri="{FF2B5EF4-FFF2-40B4-BE49-F238E27FC236}">
                <a16:creationId xmlns:a16="http://schemas.microsoft.com/office/drawing/2014/main" id="{1ECD8488-AAC7-7FD3-8B59-DE9A6DCA1A78}"/>
              </a:ext>
            </a:extLst>
          </p:cNvPr>
          <p:cNvSpPr>
            <a:spLocks noGrp="1"/>
          </p:cNvSpPr>
          <p:nvPr>
            <p:ph type="dt" sz="half" idx="15"/>
          </p:nvPr>
        </p:nvSpPr>
        <p:spPr>
          <a:xfrm>
            <a:off x="4724400" y="4223490"/>
            <a:ext cx="2743200" cy="220763"/>
          </a:xfrm>
        </p:spPr>
        <p:txBody>
          <a:bodyPr/>
          <a:lstStyle>
            <a:lvl1pPr algn="ctr">
              <a:defRPr sz="1200" b="0"/>
            </a:lvl1pPr>
          </a:lstStyle>
          <a:p>
            <a:fld id="{3DAE49FE-D209-4CE2-A110-9E636A10F85D}" type="datetime3">
              <a:rPr lang="en-GB" smtClean="0"/>
              <a:t>5 December, 2025</a:t>
            </a:fld>
            <a:endParaRPr lang="en-GB"/>
          </a:p>
        </p:txBody>
      </p:sp>
    </p:spTree>
    <p:extLst>
      <p:ext uri="{BB962C8B-B14F-4D97-AF65-F5344CB8AC3E}">
        <p14:creationId xmlns:p14="http://schemas.microsoft.com/office/powerpoint/2010/main" val="281335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Slide (Pattern 01)">
    <p:bg>
      <p:bgPr>
        <a:solidFill>
          <a:srgbClr val="11B67A"/>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300310A-6FD5-072E-5093-6401F2B8DF11}"/>
              </a:ext>
              <a:ext uri="{C183D7F6-B498-43B3-948B-1728B52AA6E4}">
                <adec:decorative xmlns:adec="http://schemas.microsoft.com/office/drawing/2017/decorative" val="1"/>
              </a:ext>
            </a:extLst>
          </p:cNvPr>
          <p:cNvSpPr/>
          <p:nvPr userDrawn="1"/>
        </p:nvSpPr>
        <p:spPr>
          <a:xfrm>
            <a:off x="6807518" y="30813"/>
            <a:ext cx="5384482" cy="6827189"/>
          </a:xfrm>
          <a:custGeom>
            <a:avLst/>
            <a:gdLst>
              <a:gd name="connsiteX0" fmla="*/ 5384482 w 5384482"/>
              <a:gd name="connsiteY0" fmla="*/ 0 h 6827189"/>
              <a:gd name="connsiteX1" fmla="*/ 5384482 w 5384482"/>
              <a:gd name="connsiteY1" fmla="*/ 2442051 h 6827189"/>
              <a:gd name="connsiteX2" fmla="*/ 5292182 w 5384482"/>
              <a:gd name="connsiteY2" fmla="*/ 2543613 h 6827189"/>
              <a:gd name="connsiteX3" fmla="*/ 4076538 w 5384482"/>
              <a:gd name="connsiteY3" fmla="*/ 6600244 h 6827189"/>
              <a:gd name="connsiteX4" fmla="*/ 2582476 w 5384482"/>
              <a:gd name="connsiteY4" fmla="*/ 4314003 h 6827189"/>
              <a:gd name="connsiteX5" fmla="*/ 1066277 w 5384482"/>
              <a:gd name="connsiteY5" fmla="*/ 6637057 h 6827189"/>
              <a:gd name="connsiteX6" fmla="*/ 1009989 w 5384482"/>
              <a:gd name="connsiteY6" fmla="*/ 6827189 h 6827189"/>
              <a:gd name="connsiteX7" fmla="*/ 0 w 5384482"/>
              <a:gd name="connsiteY7" fmla="*/ 6827189 h 6827189"/>
              <a:gd name="connsiteX8" fmla="*/ 11499 w 5384482"/>
              <a:gd name="connsiteY8" fmla="*/ 6464569 h 6827189"/>
              <a:gd name="connsiteX9" fmla="*/ 5011711 w 5384482"/>
              <a:gd name="connsiteY9" fmla="*/ 152841 h 682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4482" h="6827189">
                <a:moveTo>
                  <a:pt x="5384482" y="0"/>
                </a:moveTo>
                <a:lnTo>
                  <a:pt x="5384482" y="2442051"/>
                </a:lnTo>
                <a:lnTo>
                  <a:pt x="5292182" y="2543613"/>
                </a:lnTo>
                <a:cubicBezTo>
                  <a:pt x="4383958" y="3600892"/>
                  <a:pt x="3887904" y="4964383"/>
                  <a:pt x="4076538" y="6600244"/>
                </a:cubicBezTo>
                <a:cubicBezTo>
                  <a:pt x="3227190" y="5992113"/>
                  <a:pt x="2806380" y="5114502"/>
                  <a:pt x="2582476" y="4314003"/>
                </a:cubicBezTo>
                <a:cubicBezTo>
                  <a:pt x="1903321" y="4816303"/>
                  <a:pt x="1389142" y="5646798"/>
                  <a:pt x="1066277" y="6637057"/>
                </a:cubicBezTo>
                <a:lnTo>
                  <a:pt x="1009989" y="6827189"/>
                </a:lnTo>
                <a:lnTo>
                  <a:pt x="0" y="6827189"/>
                </a:lnTo>
                <a:lnTo>
                  <a:pt x="11499" y="6464569"/>
                </a:lnTo>
                <a:cubicBezTo>
                  <a:pt x="179272" y="3686095"/>
                  <a:pt x="2150889" y="1398452"/>
                  <a:pt x="5011711" y="152841"/>
                </a:cubicBezTo>
                <a:close/>
              </a:path>
            </a:pathLst>
          </a:custGeom>
          <a:solidFill>
            <a:srgbClr val="6CF479"/>
          </a:solidFill>
          <a:ln w="0" cap="flat">
            <a:noFill/>
            <a:prstDash val="solid"/>
            <a:miter/>
          </a:ln>
        </p:spPr>
        <p:txBody>
          <a:bodyPr wrap="square" rtlCol="0" anchor="ctr">
            <a:noAutofit/>
          </a:bodyPr>
          <a:lstStyle/>
          <a:p>
            <a:endParaRPr lang="en-GB"/>
          </a:p>
        </p:txBody>
      </p:sp>
      <p:pic>
        <p:nvPicPr>
          <p:cNvPr id="5" name="Graphic 4" descr="Lloyds Banking Group logo">
            <a:extLst>
              <a:ext uri="{FF2B5EF4-FFF2-40B4-BE49-F238E27FC236}">
                <a16:creationId xmlns:a16="http://schemas.microsoft.com/office/drawing/2014/main" id="{1FD95BB2-B6B9-2639-1826-3AB53983E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589" y="527129"/>
            <a:ext cx="1320657" cy="1113182"/>
          </a:xfrm>
          <a:prstGeom prst="rect">
            <a:avLst/>
          </a:prstGeom>
        </p:spPr>
      </p:pic>
      <p:sp>
        <p:nvSpPr>
          <p:cNvPr id="40" name="Title 14">
            <a:extLst>
              <a:ext uri="{FF2B5EF4-FFF2-40B4-BE49-F238E27FC236}">
                <a16:creationId xmlns:a16="http://schemas.microsoft.com/office/drawing/2014/main" id="{B6FAFA17-677E-B803-2E6C-456CFBDE629B}"/>
              </a:ext>
            </a:extLst>
          </p:cNvPr>
          <p:cNvSpPr>
            <a:spLocks noGrp="1"/>
          </p:cNvSpPr>
          <p:nvPr>
            <p:ph type="title"/>
          </p:nvPr>
        </p:nvSpPr>
        <p:spPr>
          <a:xfrm>
            <a:off x="382589" y="2231644"/>
            <a:ext cx="5629274" cy="2502916"/>
          </a:xfrm>
          <a:prstGeom prst="rect">
            <a:avLst/>
          </a:prstGeom>
        </p:spPr>
        <p:txBody>
          <a:bodyPr vert="horz" anchor="b"/>
          <a:lstStyle>
            <a:lvl1pPr algn="l">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39" name="Text Placeholder 3">
            <a:extLst>
              <a:ext uri="{FF2B5EF4-FFF2-40B4-BE49-F238E27FC236}">
                <a16:creationId xmlns:a16="http://schemas.microsoft.com/office/drawing/2014/main" id="{76B6223B-C824-CE71-7DD2-F9A6CD6AE079}"/>
              </a:ext>
            </a:extLst>
          </p:cNvPr>
          <p:cNvSpPr>
            <a:spLocks noGrp="1"/>
          </p:cNvSpPr>
          <p:nvPr>
            <p:ph type="body" sz="quarter" idx="13"/>
          </p:nvPr>
        </p:nvSpPr>
        <p:spPr>
          <a:xfrm>
            <a:off x="382588" y="4977047"/>
            <a:ext cx="5629274" cy="666260"/>
          </a:xfrm>
        </p:spPr>
        <p:txBody>
          <a:bodyPr anchor="t"/>
          <a:lstStyle>
            <a:lvl1pPr algn="l">
              <a:lnSpc>
                <a:spcPct val="100000"/>
              </a:lnSpc>
              <a:defRPr b="0">
                <a:solidFill>
                  <a:schemeClr val="tx1"/>
                </a:solidFill>
              </a:defRPr>
            </a:lvl1pPr>
          </a:lstStyle>
          <a:p>
            <a:pPr lvl="0"/>
            <a:r>
              <a:rPr lang="en-US"/>
              <a:t>Click to edit Master text styles</a:t>
            </a:r>
          </a:p>
        </p:txBody>
      </p:sp>
      <p:sp>
        <p:nvSpPr>
          <p:cNvPr id="9" name="Date Placeholder 4">
            <a:extLst>
              <a:ext uri="{FF2B5EF4-FFF2-40B4-BE49-F238E27FC236}">
                <a16:creationId xmlns:a16="http://schemas.microsoft.com/office/drawing/2014/main" id="{A1F128EB-58EE-97F8-1BFD-208F88D8C752}"/>
              </a:ext>
            </a:extLst>
          </p:cNvPr>
          <p:cNvSpPr>
            <a:spLocks noGrp="1"/>
          </p:cNvSpPr>
          <p:nvPr>
            <p:ph type="dt" sz="half" idx="12"/>
          </p:nvPr>
        </p:nvSpPr>
        <p:spPr>
          <a:xfrm>
            <a:off x="382588" y="6552055"/>
            <a:ext cx="2743200" cy="152470"/>
          </a:xfrm>
        </p:spPr>
        <p:txBody>
          <a:bodyPr/>
          <a:lstStyle>
            <a:lvl1pPr>
              <a:defRPr>
                <a:solidFill>
                  <a:schemeClr val="tx1"/>
                </a:solidFill>
              </a:defRPr>
            </a:lvl1pPr>
          </a:lstStyle>
          <a:p>
            <a:fld id="{147A310B-6144-4DAF-8BDB-A887EAE8D24F}"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329896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Slide (Pattern 02)">
    <p:bg>
      <p:bgPr>
        <a:solidFill>
          <a:srgbClr val="006A4D"/>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E0BAE79C-80E4-9C50-50CC-E7CAE35A6DB9}"/>
              </a:ext>
              <a:ext uri="{C183D7F6-B498-43B3-948B-1728B52AA6E4}">
                <adec:decorative xmlns:adec="http://schemas.microsoft.com/office/drawing/2017/decorative" val="1"/>
              </a:ext>
            </a:extLst>
          </p:cNvPr>
          <p:cNvSpPr/>
          <p:nvPr/>
        </p:nvSpPr>
        <p:spPr>
          <a:xfrm rot="16200000">
            <a:off x="5932746" y="598746"/>
            <a:ext cx="6863839" cy="5654669"/>
          </a:xfrm>
          <a:custGeom>
            <a:avLst/>
            <a:gdLst>
              <a:gd name="connsiteX0" fmla="*/ 6863839 w 6863839"/>
              <a:gd name="connsiteY0" fmla="*/ 1044693 h 5654669"/>
              <a:gd name="connsiteX1" fmla="*/ 6863839 w 6863839"/>
              <a:gd name="connsiteY1" fmla="*/ 5654669 h 5654669"/>
              <a:gd name="connsiteX2" fmla="*/ 5334051 w 6863839"/>
              <a:gd name="connsiteY2" fmla="*/ 5654669 h 5654669"/>
              <a:gd name="connsiteX3" fmla="*/ 5335786 w 6863839"/>
              <a:gd name="connsiteY3" fmla="*/ 5651484 h 5654669"/>
              <a:gd name="connsiteX4" fmla="*/ 5463273 w 6863839"/>
              <a:gd name="connsiteY4" fmla="*/ 4972474 h 5654669"/>
              <a:gd name="connsiteX5" fmla="*/ 4115919 w 6863839"/>
              <a:gd name="connsiteY5" fmla="*/ 4162776 h 5654669"/>
              <a:gd name="connsiteX6" fmla="*/ 3190007 w 6863839"/>
              <a:gd name="connsiteY6" fmla="*/ 4923920 h 5654669"/>
              <a:gd name="connsiteX7" fmla="*/ 3072134 w 6863839"/>
              <a:gd name="connsiteY7" fmla="*/ 3534852 h 5654669"/>
              <a:gd name="connsiteX8" fmla="*/ 3070447 w 6863839"/>
              <a:gd name="connsiteY8" fmla="*/ 3526396 h 5654669"/>
              <a:gd name="connsiteX9" fmla="*/ 119279 w 6863839"/>
              <a:gd name="connsiteY9" fmla="*/ 5543184 h 5654669"/>
              <a:gd name="connsiteX10" fmla="*/ 0 w 6863839"/>
              <a:gd name="connsiteY10" fmla="*/ 5589550 h 5654669"/>
              <a:gd name="connsiteX11" fmla="*/ 0 w 6863839"/>
              <a:gd name="connsiteY11" fmla="*/ 3119143 h 5654669"/>
              <a:gd name="connsiteX12" fmla="*/ 96697 w 6863839"/>
              <a:gd name="connsiteY12" fmla="*/ 3052260 h 5654669"/>
              <a:gd name="connsiteX13" fmla="*/ 4032513 w 6863839"/>
              <a:gd name="connsiteY13" fmla="*/ 67165 h 5654669"/>
              <a:gd name="connsiteX14" fmla="*/ 6863839 w 6863839"/>
              <a:gd name="connsiteY14" fmla="*/ 1044693 h 565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839" h="5654669">
                <a:moveTo>
                  <a:pt x="6863839" y="1044693"/>
                </a:moveTo>
                <a:lnTo>
                  <a:pt x="6863839" y="5654669"/>
                </a:lnTo>
                <a:lnTo>
                  <a:pt x="5334051" y="5654669"/>
                </a:lnTo>
                <a:lnTo>
                  <a:pt x="5335786" y="5651484"/>
                </a:lnTo>
                <a:cubicBezTo>
                  <a:pt x="5450360" y="5420486"/>
                  <a:pt x="5506528" y="5189216"/>
                  <a:pt x="5463273" y="4972474"/>
                </a:cubicBezTo>
                <a:cubicBezTo>
                  <a:pt x="5354092" y="4425464"/>
                  <a:pt x="4806153" y="4025019"/>
                  <a:pt x="4115919" y="4162776"/>
                </a:cubicBezTo>
                <a:cubicBezTo>
                  <a:pt x="3714098" y="4242974"/>
                  <a:pt x="3307645" y="4507442"/>
                  <a:pt x="3190007" y="4923920"/>
                </a:cubicBezTo>
                <a:cubicBezTo>
                  <a:pt x="2757851" y="4726396"/>
                  <a:pt x="2578261" y="4033977"/>
                  <a:pt x="3072134" y="3534852"/>
                </a:cubicBezTo>
                <a:lnTo>
                  <a:pt x="3070447" y="3526396"/>
                </a:lnTo>
                <a:cubicBezTo>
                  <a:pt x="1884745" y="3763056"/>
                  <a:pt x="1235648" y="5042001"/>
                  <a:pt x="119279" y="5543184"/>
                </a:cubicBezTo>
                <a:lnTo>
                  <a:pt x="0" y="5589550"/>
                </a:lnTo>
                <a:lnTo>
                  <a:pt x="0" y="3119143"/>
                </a:lnTo>
                <a:lnTo>
                  <a:pt x="96697" y="3052260"/>
                </a:lnTo>
                <a:cubicBezTo>
                  <a:pt x="1138473" y="2245439"/>
                  <a:pt x="2100097" y="452853"/>
                  <a:pt x="4032513" y="67165"/>
                </a:cubicBezTo>
                <a:cubicBezTo>
                  <a:pt x="5248670" y="-175563"/>
                  <a:pt x="6233389" y="260012"/>
                  <a:pt x="6863839" y="1044693"/>
                </a:cubicBezTo>
                <a:close/>
              </a:path>
            </a:pathLst>
          </a:custGeom>
          <a:solidFill>
            <a:schemeClr val="tx1"/>
          </a:solidFill>
          <a:ln w="0" cap="flat">
            <a:noFill/>
            <a:prstDash val="solid"/>
            <a:miter/>
          </a:ln>
        </p:spPr>
        <p:txBody>
          <a:bodyPr rtlCol="0" anchor="ctr"/>
          <a:lstStyle/>
          <a:p>
            <a:endParaRPr lang="en-GB"/>
          </a:p>
        </p:txBody>
      </p:sp>
      <p:pic>
        <p:nvPicPr>
          <p:cNvPr id="6" name="Graphic 5" descr="Lloyds Banking Group logo">
            <a:extLst>
              <a:ext uri="{FF2B5EF4-FFF2-40B4-BE49-F238E27FC236}">
                <a16:creationId xmlns:a16="http://schemas.microsoft.com/office/drawing/2014/main" id="{562025A7-4E7B-BEB8-F588-D686A44394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589" y="527129"/>
            <a:ext cx="1320657" cy="1113182"/>
          </a:xfrm>
          <a:prstGeom prst="rect">
            <a:avLst/>
          </a:prstGeom>
        </p:spPr>
      </p:pic>
      <p:sp>
        <p:nvSpPr>
          <p:cNvPr id="11" name="Title 14">
            <a:extLst>
              <a:ext uri="{FF2B5EF4-FFF2-40B4-BE49-F238E27FC236}">
                <a16:creationId xmlns:a16="http://schemas.microsoft.com/office/drawing/2014/main" id="{7F63FC19-0049-335A-1512-9ED29668D051}"/>
              </a:ext>
            </a:extLst>
          </p:cNvPr>
          <p:cNvSpPr>
            <a:spLocks noGrp="1"/>
          </p:cNvSpPr>
          <p:nvPr>
            <p:ph type="title"/>
          </p:nvPr>
        </p:nvSpPr>
        <p:spPr>
          <a:xfrm>
            <a:off x="382589" y="2231644"/>
            <a:ext cx="5629274" cy="2502916"/>
          </a:xfrm>
          <a:prstGeom prst="rect">
            <a:avLst/>
          </a:prstGeom>
        </p:spPr>
        <p:txBody>
          <a:bodyPr vert="horz" anchor="b"/>
          <a:lstStyle>
            <a:lvl1pPr algn="l">
              <a:lnSpc>
                <a:spcPct val="85000"/>
              </a:lnSpc>
              <a:defRPr sz="5400" spc="-20" baseline="0">
                <a:solidFill>
                  <a:schemeClr val="bg1"/>
                </a:solidFill>
                <a:latin typeface="GT Ultra Median Lloyds Black" panose="020B0604020202020204" charset="0"/>
              </a:defRPr>
            </a:lvl1pPr>
          </a:lstStyle>
          <a:p>
            <a:r>
              <a:rPr lang="en-US"/>
              <a:t>Click to edit Master title style</a:t>
            </a:r>
            <a:endParaRPr lang="en-GB"/>
          </a:p>
        </p:txBody>
      </p:sp>
      <p:sp>
        <p:nvSpPr>
          <p:cNvPr id="10" name="Text Placeholder 3">
            <a:extLst>
              <a:ext uri="{FF2B5EF4-FFF2-40B4-BE49-F238E27FC236}">
                <a16:creationId xmlns:a16="http://schemas.microsoft.com/office/drawing/2014/main" id="{BA563372-E422-BD5A-2885-C8B29415B5AB}"/>
              </a:ext>
            </a:extLst>
          </p:cNvPr>
          <p:cNvSpPr>
            <a:spLocks noGrp="1"/>
          </p:cNvSpPr>
          <p:nvPr>
            <p:ph type="body" sz="quarter" idx="13"/>
          </p:nvPr>
        </p:nvSpPr>
        <p:spPr>
          <a:xfrm>
            <a:off x="382588" y="4977047"/>
            <a:ext cx="5629274" cy="666260"/>
          </a:xfrm>
        </p:spPr>
        <p:txBody>
          <a:bodyPr anchor="t"/>
          <a:lstStyle>
            <a:lvl1pPr algn="l">
              <a:lnSpc>
                <a:spcPct val="100000"/>
              </a:lnSpc>
              <a:defRPr b="0">
                <a:solidFill>
                  <a:schemeClr val="bg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2084B48-07B0-E83D-4365-996F7A8E405D}"/>
              </a:ext>
            </a:extLst>
          </p:cNvPr>
          <p:cNvSpPr>
            <a:spLocks noGrp="1"/>
          </p:cNvSpPr>
          <p:nvPr>
            <p:ph type="dt" sz="half" idx="12"/>
          </p:nvPr>
        </p:nvSpPr>
        <p:spPr/>
        <p:txBody>
          <a:bodyPr/>
          <a:lstStyle>
            <a:lvl1pPr>
              <a:defRPr>
                <a:solidFill>
                  <a:schemeClr val="bg1"/>
                </a:solidFill>
              </a:defRPr>
            </a:lvl1pPr>
          </a:lstStyle>
          <a:p>
            <a:fld id="{EEA0D3B0-A935-4A9C-83B8-A65E38C9F618}"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132683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Title Slide (Pattern 03)">
    <p:bg>
      <p:bgPr>
        <a:solidFill>
          <a:srgbClr val="6CF479"/>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BDDD1ED-9124-A2B3-74FC-7046C1AF761A}"/>
              </a:ext>
              <a:ext uri="{C183D7F6-B498-43B3-948B-1728B52AA6E4}">
                <adec:decorative xmlns:adec="http://schemas.microsoft.com/office/drawing/2017/decorative" val="1"/>
              </a:ext>
            </a:extLst>
          </p:cNvPr>
          <p:cNvSpPr/>
          <p:nvPr/>
        </p:nvSpPr>
        <p:spPr>
          <a:xfrm>
            <a:off x="963649" y="-36558"/>
            <a:ext cx="11228351" cy="6894558"/>
          </a:xfrm>
          <a:custGeom>
            <a:avLst/>
            <a:gdLst>
              <a:gd name="connsiteX0" fmla="*/ 8034388 w 11228351"/>
              <a:gd name="connsiteY0" fmla="*/ 0 h 6894558"/>
              <a:gd name="connsiteX1" fmla="*/ 11228351 w 11228351"/>
              <a:gd name="connsiteY1" fmla="*/ 0 h 6894558"/>
              <a:gd name="connsiteX2" fmla="*/ 11228351 w 11228351"/>
              <a:gd name="connsiteY2" fmla="*/ 6425603 h 6894558"/>
              <a:gd name="connsiteX3" fmla="*/ 11098933 w 11228351"/>
              <a:gd name="connsiteY3" fmla="*/ 6354780 h 6894558"/>
              <a:gd name="connsiteX4" fmla="*/ 11021575 w 11228351"/>
              <a:gd name="connsiteY4" fmla="*/ 3744794 h 6894558"/>
              <a:gd name="connsiteX5" fmla="*/ 11018307 w 11228351"/>
              <a:gd name="connsiteY5" fmla="*/ 3728402 h 6894558"/>
              <a:gd name="connsiteX6" fmla="*/ 6602573 w 11228351"/>
              <a:gd name="connsiteY6" fmla="*/ 6825115 h 6894558"/>
              <a:gd name="connsiteX7" fmla="*/ 6508516 w 11228351"/>
              <a:gd name="connsiteY7" fmla="*/ 6894558 h 6894558"/>
              <a:gd name="connsiteX8" fmla="*/ 1006167 w 11228351"/>
              <a:gd name="connsiteY8" fmla="*/ 6894558 h 6894558"/>
              <a:gd name="connsiteX9" fmla="*/ 901271 w 11228351"/>
              <a:gd name="connsiteY9" fmla="*/ 6787069 h 6894558"/>
              <a:gd name="connsiteX10" fmla="*/ 95699 w 11228351"/>
              <a:gd name="connsiteY10" fmla="*/ 5146542 h 6894558"/>
              <a:gd name="connsiteX11" fmla="*/ 1498729 w 11228351"/>
              <a:gd name="connsiteY11" fmla="*/ 976851 h 6894558"/>
              <a:gd name="connsiteX12" fmla="*/ 3805762 w 11228351"/>
              <a:gd name="connsiteY12" fmla="*/ 3529784 h 6894558"/>
              <a:gd name="connsiteX13" fmla="*/ 7630837 w 11228351"/>
              <a:gd name="connsiteY13" fmla="*/ 420523 h 689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28351" h="6894558">
                <a:moveTo>
                  <a:pt x="8034388" y="0"/>
                </a:moveTo>
                <a:lnTo>
                  <a:pt x="11228351" y="0"/>
                </a:lnTo>
                <a:lnTo>
                  <a:pt x="11228351" y="6425603"/>
                </a:lnTo>
                <a:lnTo>
                  <a:pt x="11098933" y="6354780"/>
                </a:lnTo>
                <a:cubicBezTo>
                  <a:pt x="10373922" y="5888274"/>
                  <a:pt x="10124041" y="4651874"/>
                  <a:pt x="11021575" y="3744794"/>
                </a:cubicBezTo>
                <a:lnTo>
                  <a:pt x="11018307" y="3728402"/>
                </a:lnTo>
                <a:cubicBezTo>
                  <a:pt x="9220389" y="4087257"/>
                  <a:pt x="8058942" y="5682374"/>
                  <a:pt x="6602573" y="6825115"/>
                </a:cubicBezTo>
                <a:lnTo>
                  <a:pt x="6508516" y="6894558"/>
                </a:lnTo>
                <a:lnTo>
                  <a:pt x="1006167" y="6894558"/>
                </a:lnTo>
                <a:lnTo>
                  <a:pt x="901271" y="6787069"/>
                </a:lnTo>
                <a:cubicBezTo>
                  <a:pt x="512315" y="6346131"/>
                  <a:pt x="225053" y="5794660"/>
                  <a:pt x="95699" y="5146542"/>
                </a:cubicBezTo>
                <a:cubicBezTo>
                  <a:pt x="-212195" y="3603975"/>
                  <a:pt x="214365" y="2012137"/>
                  <a:pt x="1498729" y="976851"/>
                </a:cubicBezTo>
                <a:cubicBezTo>
                  <a:pt x="1399590" y="2746763"/>
                  <a:pt x="2311043" y="3828139"/>
                  <a:pt x="3805762" y="3529784"/>
                </a:cubicBezTo>
                <a:cubicBezTo>
                  <a:pt x="5159410" y="3262055"/>
                  <a:pt x="6276177" y="1865334"/>
                  <a:pt x="7630837" y="420523"/>
                </a:cubicBezTo>
                <a:close/>
              </a:path>
            </a:pathLst>
          </a:custGeom>
          <a:solidFill>
            <a:srgbClr val="C7FFC6"/>
          </a:solidFill>
          <a:ln w="0" cap="flat">
            <a:noFill/>
            <a:prstDash val="solid"/>
            <a:miter/>
          </a:ln>
        </p:spPr>
        <p:txBody>
          <a:bodyPr rtlCol="0" anchor="ctr"/>
          <a:lstStyle/>
          <a:p>
            <a:endParaRPr lang="en-GB"/>
          </a:p>
        </p:txBody>
      </p:sp>
      <p:pic>
        <p:nvPicPr>
          <p:cNvPr id="11" name="Graphic 10" descr="Lloyds Banking Group logo">
            <a:extLst>
              <a:ext uri="{FF2B5EF4-FFF2-40B4-BE49-F238E27FC236}">
                <a16:creationId xmlns:a16="http://schemas.microsoft.com/office/drawing/2014/main" id="{BC59FA72-3D26-B248-B25A-E3C6015AC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3393" y="534749"/>
            <a:ext cx="1320657" cy="1113182"/>
          </a:xfrm>
          <a:prstGeom prst="rect">
            <a:avLst/>
          </a:prstGeom>
        </p:spPr>
      </p:pic>
      <p:sp>
        <p:nvSpPr>
          <p:cNvPr id="7" name="Title 14">
            <a:extLst>
              <a:ext uri="{FF2B5EF4-FFF2-40B4-BE49-F238E27FC236}">
                <a16:creationId xmlns:a16="http://schemas.microsoft.com/office/drawing/2014/main" id="{8E2F67DA-E733-557E-44F1-2359946A7B9B}"/>
              </a:ext>
            </a:extLst>
          </p:cNvPr>
          <p:cNvSpPr>
            <a:spLocks noGrp="1"/>
          </p:cNvSpPr>
          <p:nvPr>
            <p:ph type="title"/>
          </p:nvPr>
        </p:nvSpPr>
        <p:spPr>
          <a:xfrm>
            <a:off x="838200" y="2231644"/>
            <a:ext cx="10515600" cy="2116836"/>
          </a:xfrm>
          <a:prstGeom prst="rect">
            <a:avLst/>
          </a:prstGeom>
        </p:spPr>
        <p:txBody>
          <a:bodyPr vert="horz" anchor="ctr"/>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6" name="Text Placeholder 3">
            <a:extLst>
              <a:ext uri="{FF2B5EF4-FFF2-40B4-BE49-F238E27FC236}">
                <a16:creationId xmlns:a16="http://schemas.microsoft.com/office/drawing/2014/main" id="{C0C6E8F0-187D-2057-9F66-E0EFC516F74C}"/>
              </a:ext>
            </a:extLst>
          </p:cNvPr>
          <p:cNvSpPr>
            <a:spLocks noGrp="1"/>
          </p:cNvSpPr>
          <p:nvPr>
            <p:ph type="body" sz="quarter" idx="13"/>
          </p:nvPr>
        </p:nvSpPr>
        <p:spPr>
          <a:xfrm>
            <a:off x="838200" y="4484860"/>
            <a:ext cx="10515600" cy="666260"/>
          </a:xfrm>
        </p:spPr>
        <p:txBody>
          <a:bodyPr anchor="t"/>
          <a:lstStyle>
            <a:lvl1pPr algn="ctr">
              <a:lnSpc>
                <a:spcPct val="100000"/>
              </a:lnSpc>
              <a:defRPr b="0">
                <a:solidFill>
                  <a:schemeClr val="tx1"/>
                </a:solidFill>
              </a:defRPr>
            </a:lvl1pPr>
          </a:lstStyle>
          <a:p>
            <a:pPr lvl="0"/>
            <a:r>
              <a:rPr lang="en-US"/>
              <a:t>Click to edit Master text styles</a:t>
            </a:r>
          </a:p>
        </p:txBody>
      </p:sp>
      <p:sp>
        <p:nvSpPr>
          <p:cNvPr id="15" name="Date Placeholder 4">
            <a:extLst>
              <a:ext uri="{FF2B5EF4-FFF2-40B4-BE49-F238E27FC236}">
                <a16:creationId xmlns:a16="http://schemas.microsoft.com/office/drawing/2014/main" id="{9F1047D0-38CD-446B-C9A9-A58FE37ADD5D}"/>
              </a:ext>
            </a:extLst>
          </p:cNvPr>
          <p:cNvSpPr>
            <a:spLocks noGrp="1"/>
          </p:cNvSpPr>
          <p:nvPr>
            <p:ph type="dt" sz="half" idx="12"/>
          </p:nvPr>
        </p:nvSpPr>
        <p:spPr>
          <a:xfrm>
            <a:off x="382588" y="6552055"/>
            <a:ext cx="2743200" cy="152470"/>
          </a:xfrm>
        </p:spPr>
        <p:txBody>
          <a:bodyPr/>
          <a:lstStyle>
            <a:lvl1pPr>
              <a:defRPr>
                <a:solidFill>
                  <a:schemeClr val="tx1"/>
                </a:solidFill>
              </a:defRPr>
            </a:lvl1pPr>
          </a:lstStyle>
          <a:p>
            <a:fld id="{9419FA08-C6C0-4D25-A3B7-D98F01D85F75}" type="datetime3">
              <a:rPr lang="en-GB" smtClean="0"/>
              <a:t>5 December, 2025</a:t>
            </a:fld>
            <a:endParaRPr lang="en-GB"/>
          </a:p>
        </p:txBody>
      </p:sp>
      <p:sp>
        <p:nvSpPr>
          <p:cNvPr id="3" name="Footer Placeholder 2">
            <a:extLst>
              <a:ext uri="{FF2B5EF4-FFF2-40B4-BE49-F238E27FC236}">
                <a16:creationId xmlns:a16="http://schemas.microsoft.com/office/drawing/2014/main" id="{8B4D1771-8566-11A4-2FC1-EE2CA74E7FEB}"/>
              </a:ext>
            </a:extLst>
          </p:cNvPr>
          <p:cNvSpPr>
            <a:spLocks noGrp="1"/>
          </p:cNvSpPr>
          <p:nvPr>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02146D9-02BD-E55C-2E2B-009AC72B947E}"/>
              </a:ext>
            </a:extLst>
          </p:cNvPr>
          <p:cNvSpPr>
            <a:spLocks noGrp="1"/>
          </p:cNvSpPr>
          <p:nvPr>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319674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itle Slide (Pattern panel)">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89A3CC9-B675-0E7A-EB6D-5346135D880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9871" r="25144"/>
          <a:stretch/>
        </p:blipFill>
        <p:spPr>
          <a:xfrm rot="5400000">
            <a:off x="5715001" y="381001"/>
            <a:ext cx="6857998" cy="6096000"/>
          </a:xfrm>
          <a:prstGeom prst="rect">
            <a:avLst/>
          </a:prstGeom>
        </p:spPr>
      </p:pic>
      <p:pic>
        <p:nvPicPr>
          <p:cNvPr id="7" name="Graphic 6" descr="Lloyds Banking Group logo">
            <a:extLst>
              <a:ext uri="{FF2B5EF4-FFF2-40B4-BE49-F238E27FC236}">
                <a16:creationId xmlns:a16="http://schemas.microsoft.com/office/drawing/2014/main" id="{79EB8FA3-14B3-E29C-C1AF-A30A71E285F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447997" y="527129"/>
            <a:ext cx="1320657" cy="1113182"/>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377440"/>
            <a:ext cx="4920932" cy="263144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F8D3585D-EB60-4C76-BF44-EEF86963CA2C}" type="datetime3">
              <a:rPr lang="en-GB" smtClean="0"/>
              <a:t>5 December, 2025</a:t>
            </a:fld>
            <a:endParaRPr lang="en-GB"/>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97495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Slide (Animated Cancara)">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261E880-3FF7-CA24-1C31-54B135D8AA7D}"/>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41307" r="7347"/>
          <a:stretch/>
        </p:blipFill>
        <p:spPr>
          <a:xfrm flipH="1" flipV="1">
            <a:off x="6095997" y="0"/>
            <a:ext cx="6096002" cy="6857998"/>
          </a:xfrm>
          <a:prstGeom prst="rect">
            <a:avLst/>
          </a:prstGeom>
        </p:spPr>
      </p:pic>
      <p:pic>
        <p:nvPicPr>
          <p:cNvPr id="10" name="Picture 9" descr="Animated Lloyds Bank black horse rearing up">
            <a:extLst>
              <a:ext uri="{FF2B5EF4-FFF2-40B4-BE49-F238E27FC236}">
                <a16:creationId xmlns:a16="http://schemas.microsoft.com/office/drawing/2014/main" id="{04FD7BBE-B2CE-6E27-F492-B07999A5458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58078" y="538480"/>
            <a:ext cx="2900494" cy="2447288"/>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875279"/>
            <a:ext cx="4920932" cy="213360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14968BD0-970F-4068-9F7C-5324270A0D6B}" type="datetime3">
              <a:rPr lang="en-GB" smtClean="0"/>
              <a:t>5 December, 2025</a:t>
            </a:fld>
            <a:endParaRPr lang="en-GB"/>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59266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0"/>
            <a:ext cx="7848172" cy="1955769"/>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54068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itle Slide (Image panel)">
    <p:bg>
      <p:bgPr>
        <a:solidFill>
          <a:schemeClr val="bg1"/>
        </a:solidFill>
        <a:effectLst/>
      </p:bgPr>
    </p:bg>
    <p:spTree>
      <p:nvGrpSpPr>
        <p:cNvPr id="1" name=""/>
        <p:cNvGrpSpPr/>
        <p:nvPr/>
      </p:nvGrpSpPr>
      <p:grpSpPr>
        <a:xfrm>
          <a:off x="0" y="0"/>
          <a:ext cx="0" cy="0"/>
          <a:chOff x="0" y="0"/>
          <a:chExt cx="0" cy="0"/>
        </a:xfrm>
      </p:grpSpPr>
      <p:pic>
        <p:nvPicPr>
          <p:cNvPr id="14" name="Graphic 13" descr="Lloyds Banking Group logo">
            <a:extLst>
              <a:ext uri="{FF2B5EF4-FFF2-40B4-BE49-F238E27FC236}">
                <a16:creationId xmlns:a16="http://schemas.microsoft.com/office/drawing/2014/main" id="{D582348C-7692-F2C1-83E3-367A607F315A}"/>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47997" y="527129"/>
            <a:ext cx="1320657" cy="1113182"/>
          </a:xfrm>
          <a:prstGeom prst="rect">
            <a:avLst/>
          </a:prstGeom>
        </p:spPr>
      </p:pic>
      <p:sp>
        <p:nvSpPr>
          <p:cNvPr id="11" name="Title 14">
            <a:extLst>
              <a:ext uri="{FF2B5EF4-FFF2-40B4-BE49-F238E27FC236}">
                <a16:creationId xmlns:a16="http://schemas.microsoft.com/office/drawing/2014/main" id="{9B91331A-F39E-250E-21F9-31851BADFBAA}"/>
              </a:ext>
            </a:extLst>
          </p:cNvPr>
          <p:cNvSpPr>
            <a:spLocks noGrp="1"/>
          </p:cNvSpPr>
          <p:nvPr>
            <p:ph type="title"/>
          </p:nvPr>
        </p:nvSpPr>
        <p:spPr>
          <a:xfrm>
            <a:off x="647859" y="2377440"/>
            <a:ext cx="4920932" cy="2631441"/>
          </a:xfrm>
          <a:prstGeom prst="rect">
            <a:avLst/>
          </a:prstGeom>
        </p:spPr>
        <p:txBody>
          <a:bodyPr vert="horz" anchor="b"/>
          <a:lstStyle>
            <a:lvl1pPr algn="ctr">
              <a:lnSpc>
                <a:spcPct val="85000"/>
              </a:lnSpc>
              <a:defRPr sz="48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D3D6B76-E396-3ED1-5F56-51BD14560735}"/>
              </a:ext>
            </a:extLst>
          </p:cNvPr>
          <p:cNvSpPr>
            <a:spLocks noGrp="1"/>
          </p:cNvSpPr>
          <p:nvPr>
            <p:ph type="body" sz="quarter" idx="14"/>
          </p:nvPr>
        </p:nvSpPr>
        <p:spPr>
          <a:xfrm>
            <a:off x="647859" y="5159894"/>
            <a:ext cx="4920932" cy="774000"/>
          </a:xfrm>
        </p:spPr>
        <p:txBody>
          <a:bodyPr anchor="t"/>
          <a:lstStyle>
            <a:lvl1pPr algn="ctr">
              <a:defRPr b="0">
                <a:solidFill>
                  <a:schemeClr val="tx1"/>
                </a:solidFill>
              </a:defRPr>
            </a:lvl1pPr>
          </a:lstStyle>
          <a:p>
            <a:pPr lvl="0"/>
            <a:r>
              <a:rPr lang="en-US"/>
              <a:t>Click to edit Master text styles</a:t>
            </a:r>
          </a:p>
        </p:txBody>
      </p:sp>
      <p:sp>
        <p:nvSpPr>
          <p:cNvPr id="7" name="Picture Placeholder 6">
            <a:extLst>
              <a:ext uri="{FF2B5EF4-FFF2-40B4-BE49-F238E27FC236}">
                <a16:creationId xmlns:a16="http://schemas.microsoft.com/office/drawing/2014/main" id="{17CA09D6-92BC-53CA-6F36-90FD65F4E859}"/>
              </a:ext>
            </a:extLst>
          </p:cNvPr>
          <p:cNvSpPr>
            <a:spLocks noGrp="1"/>
          </p:cNvSpPr>
          <p:nvPr>
            <p:ph type="pic" sz="quarter" idx="13"/>
          </p:nvPr>
        </p:nvSpPr>
        <p:spPr>
          <a:xfrm>
            <a:off x="6096000" y="0"/>
            <a:ext cx="6096000" cy="6858000"/>
          </a:xfrm>
          <a:noFill/>
        </p:spPr>
        <p:txBody>
          <a:bodyPr/>
          <a:lstStyle/>
          <a:p>
            <a:r>
              <a:rPr lang="en-US"/>
              <a:t>Click icon to add picture</a:t>
            </a:r>
            <a:endParaRPr lang="en-GB"/>
          </a:p>
        </p:txBody>
      </p:sp>
      <p:sp>
        <p:nvSpPr>
          <p:cNvPr id="5" name="Date Placeholder 4">
            <a:extLst>
              <a:ext uri="{FF2B5EF4-FFF2-40B4-BE49-F238E27FC236}">
                <a16:creationId xmlns:a16="http://schemas.microsoft.com/office/drawing/2014/main" id="{9750A193-6D2D-71FE-85FA-27261ABD5EB5}"/>
              </a:ext>
            </a:extLst>
          </p:cNvPr>
          <p:cNvSpPr>
            <a:spLocks noGrp="1"/>
          </p:cNvSpPr>
          <p:nvPr>
            <p:ph type="dt" sz="half" idx="12"/>
          </p:nvPr>
        </p:nvSpPr>
        <p:spPr/>
        <p:txBody>
          <a:bodyPr/>
          <a:lstStyle/>
          <a:p>
            <a:fld id="{83ECB52E-8432-4F09-9CC9-668D71B36CEE}" type="datetime3">
              <a:rPr lang="en-GB" smtClean="0"/>
              <a:t>5 December, 2025</a:t>
            </a:fld>
            <a:endParaRPr lang="en-GB"/>
          </a:p>
        </p:txBody>
      </p:sp>
      <p:sp>
        <p:nvSpPr>
          <p:cNvPr id="4" name="Slide Number Placeholder 3">
            <a:extLst>
              <a:ext uri="{FF2B5EF4-FFF2-40B4-BE49-F238E27FC236}">
                <a16:creationId xmlns:a16="http://schemas.microsoft.com/office/drawing/2014/main" id="{0AF40958-9DFA-B0AA-1135-1733C63FA9B4}"/>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5930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Title Slide (Colour)">
    <p:bg>
      <p:bgPr>
        <a:solidFill>
          <a:schemeClr val="bg1"/>
        </a:solidFill>
        <a:effectLst/>
      </p:bgPr>
    </p:bg>
    <p:spTree>
      <p:nvGrpSpPr>
        <p:cNvPr id="1" name=""/>
        <p:cNvGrpSpPr/>
        <p:nvPr/>
      </p:nvGrpSpPr>
      <p:grpSpPr>
        <a:xfrm>
          <a:off x="0" y="0"/>
          <a:ext cx="0" cy="0"/>
          <a:chOff x="0" y="0"/>
          <a:chExt cx="0" cy="0"/>
        </a:xfrm>
      </p:grpSpPr>
      <p:pic>
        <p:nvPicPr>
          <p:cNvPr id="15" name="Graphic 14" descr="Lloyds Banking Group logo">
            <a:extLst>
              <a:ext uri="{FF2B5EF4-FFF2-40B4-BE49-F238E27FC236}">
                <a16:creationId xmlns:a16="http://schemas.microsoft.com/office/drawing/2014/main" id="{EFBA2F05-62DB-1A8D-EC4A-A666FD08D5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5672" y="534749"/>
            <a:ext cx="1320657" cy="1113182"/>
          </a:xfrm>
          <a:prstGeom prst="rect">
            <a:avLst/>
          </a:prstGeom>
        </p:spPr>
      </p:pic>
      <p:sp>
        <p:nvSpPr>
          <p:cNvPr id="13" name="Title 14">
            <a:extLst>
              <a:ext uri="{FF2B5EF4-FFF2-40B4-BE49-F238E27FC236}">
                <a16:creationId xmlns:a16="http://schemas.microsoft.com/office/drawing/2014/main" id="{C6B29EDE-75F8-B7C2-577C-3A2216ED3233}"/>
              </a:ext>
            </a:extLst>
          </p:cNvPr>
          <p:cNvSpPr>
            <a:spLocks noGrp="1"/>
          </p:cNvSpPr>
          <p:nvPr>
            <p:ph type="title"/>
          </p:nvPr>
        </p:nvSpPr>
        <p:spPr>
          <a:xfrm>
            <a:off x="838200" y="2231644"/>
            <a:ext cx="10515600" cy="2116836"/>
          </a:xfrm>
          <a:prstGeom prst="rect">
            <a:avLst/>
          </a:prstGeom>
        </p:spPr>
        <p:txBody>
          <a:bodyPr vert="horz" anchor="ctr"/>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title style</a:t>
            </a:r>
            <a:endParaRPr lang="en-GB"/>
          </a:p>
        </p:txBody>
      </p:sp>
      <p:sp>
        <p:nvSpPr>
          <p:cNvPr id="11" name="Text Placeholder 3">
            <a:extLst>
              <a:ext uri="{FF2B5EF4-FFF2-40B4-BE49-F238E27FC236}">
                <a16:creationId xmlns:a16="http://schemas.microsoft.com/office/drawing/2014/main" id="{D89B0417-70F8-D265-9C17-F4AA6C9DD27A}"/>
              </a:ext>
            </a:extLst>
          </p:cNvPr>
          <p:cNvSpPr>
            <a:spLocks noGrp="1"/>
          </p:cNvSpPr>
          <p:nvPr>
            <p:ph type="body" sz="quarter" idx="13"/>
          </p:nvPr>
        </p:nvSpPr>
        <p:spPr>
          <a:xfrm>
            <a:off x="838200" y="4484860"/>
            <a:ext cx="10515600" cy="666260"/>
          </a:xfrm>
        </p:spPr>
        <p:txBody>
          <a:bodyPr anchor="t"/>
          <a:lstStyle>
            <a:lvl1pPr algn="ctr">
              <a:lnSpc>
                <a:spcPct val="100000"/>
              </a:lnSpc>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p>
            <a:fld id="{A5615EC7-CF73-4228-9C2B-564CF011EB98}"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31692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Divider Slide (Animated Cancara)">
    <p:bg>
      <p:bgPr>
        <a:solidFill>
          <a:schemeClr val="bg1"/>
        </a:solidFill>
        <a:effectLst/>
      </p:bgPr>
    </p:bg>
    <p:spTree>
      <p:nvGrpSpPr>
        <p:cNvPr id="1" name=""/>
        <p:cNvGrpSpPr/>
        <p:nvPr/>
      </p:nvGrpSpPr>
      <p:grpSpPr>
        <a:xfrm>
          <a:off x="0" y="0"/>
          <a:ext cx="0" cy="0"/>
          <a:chOff x="0" y="0"/>
          <a:chExt cx="0" cy="0"/>
        </a:xfrm>
      </p:grpSpPr>
      <p:pic>
        <p:nvPicPr>
          <p:cNvPr id="11" name="Picture 10" descr="An animated Lloyds Bank black horse  rearing up">
            <a:extLst>
              <a:ext uri="{FF2B5EF4-FFF2-40B4-BE49-F238E27FC236}">
                <a16:creationId xmlns:a16="http://schemas.microsoft.com/office/drawing/2014/main" id="{813752FE-90C8-A2AD-6B90-E0D60188B4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77360" y="605868"/>
            <a:ext cx="3637280" cy="3068950"/>
          </a:xfrm>
          <a:prstGeom prst="rect">
            <a:avLst/>
          </a:prstGeom>
        </p:spPr>
      </p:pic>
      <p:sp>
        <p:nvSpPr>
          <p:cNvPr id="7" name="Title 14">
            <a:extLst>
              <a:ext uri="{FF2B5EF4-FFF2-40B4-BE49-F238E27FC236}">
                <a16:creationId xmlns:a16="http://schemas.microsoft.com/office/drawing/2014/main" id="{9181B16B-58DD-C85B-194F-82D1B9DF25A3}"/>
              </a:ext>
            </a:extLst>
          </p:cNvPr>
          <p:cNvSpPr>
            <a:spLocks noGrp="1"/>
          </p:cNvSpPr>
          <p:nvPr>
            <p:ph type="title" hasCustomPrompt="1"/>
          </p:nvPr>
        </p:nvSpPr>
        <p:spPr>
          <a:xfrm>
            <a:off x="396240" y="3566160"/>
            <a:ext cx="11399520" cy="1709392"/>
          </a:xfrm>
          <a:prstGeom prst="rect">
            <a:avLst/>
          </a:prstGeom>
        </p:spPr>
        <p:txBody>
          <a:bodyPr vert="horz" anchor="b"/>
          <a:lstStyle>
            <a:lvl1pPr algn="ctr">
              <a:lnSpc>
                <a:spcPct val="85000"/>
              </a:lnSpc>
              <a:defRPr sz="5400" spc="-20" baseline="0">
                <a:solidFill>
                  <a:schemeClr val="tx1"/>
                </a:solidFill>
                <a:latin typeface="GT Ultra Median Lloyds Black" panose="020B0604020202020204" charset="0"/>
              </a:defRPr>
            </a:lvl1pPr>
          </a:lstStyle>
          <a:p>
            <a:r>
              <a:rPr lang="en-US"/>
              <a:t>Click to edit Master </a:t>
            </a:r>
            <a:br>
              <a:rPr lang="en-US"/>
            </a:br>
            <a:r>
              <a:rPr lang="en-US"/>
              <a:t>title style</a:t>
            </a:r>
            <a:endParaRPr lang="en-GB"/>
          </a:p>
        </p:txBody>
      </p:sp>
      <p:sp>
        <p:nvSpPr>
          <p:cNvPr id="8" name="Text Placeholder 3">
            <a:extLst>
              <a:ext uri="{FF2B5EF4-FFF2-40B4-BE49-F238E27FC236}">
                <a16:creationId xmlns:a16="http://schemas.microsoft.com/office/drawing/2014/main" id="{66C051A2-E63A-882E-14DE-DDB8729347FA}"/>
              </a:ext>
            </a:extLst>
          </p:cNvPr>
          <p:cNvSpPr>
            <a:spLocks noGrp="1"/>
          </p:cNvSpPr>
          <p:nvPr>
            <p:ph type="body" sz="quarter" idx="14"/>
          </p:nvPr>
        </p:nvSpPr>
        <p:spPr>
          <a:xfrm>
            <a:off x="396240" y="5426565"/>
            <a:ext cx="11399520" cy="666260"/>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p>
            <a:fld id="{A0EC35DF-B254-4C84-9120-D905F6E687A5}"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09953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Expressive Cancara)">
    <p:bg>
      <p:bgPr>
        <a:solidFill>
          <a:srgbClr val="006A4D"/>
        </a:solidFill>
        <a:effectLst/>
      </p:bgPr>
    </p:bg>
    <p:spTree>
      <p:nvGrpSpPr>
        <p:cNvPr id="1" name=""/>
        <p:cNvGrpSpPr/>
        <p:nvPr/>
      </p:nvGrpSpPr>
      <p:grpSpPr>
        <a:xfrm>
          <a:off x="0" y="0"/>
          <a:ext cx="0" cy="0"/>
          <a:chOff x="0" y="0"/>
          <a:chExt cx="0" cy="0"/>
        </a:xfrm>
      </p:grpSpPr>
      <p:grpSp>
        <p:nvGrpSpPr>
          <p:cNvPr id="7" name="Group 6" descr="Close up of Lloyds Banking Group logo">
            <a:extLst>
              <a:ext uri="{FF2B5EF4-FFF2-40B4-BE49-F238E27FC236}">
                <a16:creationId xmlns:a16="http://schemas.microsoft.com/office/drawing/2014/main" id="{E3CB87BB-1B97-7321-8BD0-EAB38BB87CA9}"/>
              </a:ext>
            </a:extLst>
          </p:cNvPr>
          <p:cNvGrpSpPr/>
          <p:nvPr userDrawn="1"/>
        </p:nvGrpSpPr>
        <p:grpSpPr>
          <a:xfrm>
            <a:off x="2246644" y="270852"/>
            <a:ext cx="7698713" cy="6587148"/>
            <a:chOff x="2246644" y="270852"/>
            <a:chExt cx="7698713" cy="6587148"/>
          </a:xfrm>
        </p:grpSpPr>
        <p:sp>
          <p:nvSpPr>
            <p:cNvPr id="22" name="Freeform: Shape 21">
              <a:extLst>
                <a:ext uri="{FF2B5EF4-FFF2-40B4-BE49-F238E27FC236}">
                  <a16:creationId xmlns:a16="http://schemas.microsoft.com/office/drawing/2014/main" id="{38D06D6E-0228-80AC-BCAE-6764C210D111}"/>
                </a:ext>
              </a:extLst>
            </p:cNvPr>
            <p:cNvSpPr/>
            <p:nvPr/>
          </p:nvSpPr>
          <p:spPr>
            <a:xfrm>
              <a:off x="2246644" y="270852"/>
              <a:ext cx="7698713" cy="6587148"/>
            </a:xfrm>
            <a:custGeom>
              <a:avLst/>
              <a:gdLst>
                <a:gd name="connsiteX0" fmla="*/ 4797344 w 7698713"/>
                <a:gd name="connsiteY0" fmla="*/ 0 h 6587148"/>
                <a:gd name="connsiteX1" fmla="*/ 4898085 w 7698713"/>
                <a:gd name="connsiteY1" fmla="*/ 215575 h 6587148"/>
                <a:gd name="connsiteX2" fmla="*/ 4900081 w 7698713"/>
                <a:gd name="connsiteY2" fmla="*/ 215575 h 6587148"/>
                <a:gd name="connsiteX3" fmla="*/ 4988745 w 7698713"/>
                <a:gd name="connsiteY3" fmla="*/ 36264 h 6587148"/>
                <a:gd name="connsiteX4" fmla="*/ 5053202 w 7698713"/>
                <a:gd name="connsiteY4" fmla="*/ 298182 h 6587148"/>
                <a:gd name="connsiteX5" fmla="*/ 5039128 w 7698713"/>
                <a:gd name="connsiteY5" fmla="*/ 354602 h 6587148"/>
                <a:gd name="connsiteX6" fmla="*/ 5250668 w 7698713"/>
                <a:gd name="connsiteY6" fmla="*/ 634665 h 6587148"/>
                <a:gd name="connsiteX7" fmla="*/ 5230530 w 7698713"/>
                <a:gd name="connsiteY7" fmla="*/ 721307 h 6587148"/>
                <a:gd name="connsiteX8" fmla="*/ 5714075 w 7698713"/>
                <a:gd name="connsiteY8" fmla="*/ 1331795 h 6587148"/>
                <a:gd name="connsiteX9" fmla="*/ 5754376 w 7698713"/>
                <a:gd name="connsiteY9" fmla="*/ 1444622 h 6587148"/>
                <a:gd name="connsiteX10" fmla="*/ 5484393 w 7698713"/>
                <a:gd name="connsiteY10" fmla="*/ 1706553 h 6587148"/>
                <a:gd name="connsiteX11" fmla="*/ 5262771 w 7698713"/>
                <a:gd name="connsiteY11" fmla="*/ 1579615 h 6587148"/>
                <a:gd name="connsiteX12" fmla="*/ 4841663 w 7698713"/>
                <a:gd name="connsiteY12" fmla="*/ 1374103 h 6587148"/>
                <a:gd name="connsiteX13" fmla="*/ 4789283 w 7698713"/>
                <a:gd name="connsiteY13" fmla="*/ 1555439 h 6587148"/>
                <a:gd name="connsiteX14" fmla="*/ 5603277 w 7698713"/>
                <a:gd name="connsiteY14" fmla="*/ 2637378 h 6587148"/>
                <a:gd name="connsiteX15" fmla="*/ 6252045 w 7698713"/>
                <a:gd name="connsiteY15" fmla="*/ 2421815 h 6587148"/>
                <a:gd name="connsiteX16" fmla="*/ 7507285 w 7698713"/>
                <a:gd name="connsiteY16" fmla="*/ 3489671 h 6587148"/>
                <a:gd name="connsiteX17" fmla="*/ 7698713 w 7698713"/>
                <a:gd name="connsiteY17" fmla="*/ 3733450 h 6587148"/>
                <a:gd name="connsiteX18" fmla="*/ 7118444 w 7698713"/>
                <a:gd name="connsiteY18" fmla="*/ 3733450 h 6587148"/>
                <a:gd name="connsiteX19" fmla="*/ 7118444 w 7698713"/>
                <a:gd name="connsiteY19" fmla="*/ 3564209 h 6587148"/>
                <a:gd name="connsiteX20" fmla="*/ 6959258 w 7698713"/>
                <a:gd name="connsiteY20" fmla="*/ 3519890 h 6587148"/>
                <a:gd name="connsiteX21" fmla="*/ 6207726 w 7698713"/>
                <a:gd name="connsiteY21" fmla="*/ 2875144 h 6587148"/>
                <a:gd name="connsiteX22" fmla="*/ 5641557 w 7698713"/>
                <a:gd name="connsiteY22" fmla="*/ 3354667 h 6587148"/>
                <a:gd name="connsiteX23" fmla="*/ 6582469 w 7698713"/>
                <a:gd name="connsiteY23" fmla="*/ 3415107 h 6587148"/>
                <a:gd name="connsiteX24" fmla="*/ 6431369 w 7698713"/>
                <a:gd name="connsiteY24" fmla="*/ 4710638 h 6587148"/>
                <a:gd name="connsiteX25" fmla="*/ 6308468 w 7698713"/>
                <a:gd name="connsiteY25" fmla="*/ 5043106 h 6587148"/>
                <a:gd name="connsiteX26" fmla="*/ 5982062 w 7698713"/>
                <a:gd name="connsiteY26" fmla="*/ 5321148 h 6587148"/>
                <a:gd name="connsiteX27" fmla="*/ 5982062 w 7698713"/>
                <a:gd name="connsiteY27" fmla="*/ 4748944 h 6587148"/>
                <a:gd name="connsiteX28" fmla="*/ 6157343 w 7698713"/>
                <a:gd name="connsiteY28" fmla="*/ 4748944 h 6587148"/>
                <a:gd name="connsiteX29" fmla="*/ 6108981 w 7698713"/>
                <a:gd name="connsiteY29" fmla="*/ 4567600 h 6587148"/>
                <a:gd name="connsiteX30" fmla="*/ 6270188 w 7698713"/>
                <a:gd name="connsiteY30" fmla="*/ 3797932 h 6587148"/>
                <a:gd name="connsiteX31" fmla="*/ 6254067 w 7698713"/>
                <a:gd name="connsiteY31" fmla="*/ 3701234 h 6587148"/>
                <a:gd name="connsiteX32" fmla="*/ 6147287 w 7698713"/>
                <a:gd name="connsiteY32" fmla="*/ 3713312 h 6587148"/>
                <a:gd name="connsiteX33" fmla="*/ 5593195 w 7698713"/>
                <a:gd name="connsiteY33" fmla="*/ 4035672 h 6587148"/>
                <a:gd name="connsiteX34" fmla="*/ 4950465 w 7698713"/>
                <a:gd name="connsiteY34" fmla="*/ 4265377 h 6587148"/>
                <a:gd name="connsiteX35" fmla="*/ 3266055 w 7698713"/>
                <a:gd name="connsiteY35" fmla="*/ 4777142 h 6587148"/>
                <a:gd name="connsiteX36" fmla="*/ 2653545 w 7698713"/>
                <a:gd name="connsiteY36" fmla="*/ 5822830 h 6587148"/>
                <a:gd name="connsiteX37" fmla="*/ 2917490 w 7698713"/>
                <a:gd name="connsiteY37" fmla="*/ 6322517 h 6587148"/>
                <a:gd name="connsiteX38" fmla="*/ 3067594 w 7698713"/>
                <a:gd name="connsiteY38" fmla="*/ 6544019 h 6587148"/>
                <a:gd name="connsiteX39" fmla="*/ 3098931 w 7698713"/>
                <a:gd name="connsiteY39" fmla="*/ 6587148 h 6587148"/>
                <a:gd name="connsiteX40" fmla="*/ 2739729 w 7698713"/>
                <a:gd name="connsiteY40" fmla="*/ 6587148 h 6587148"/>
                <a:gd name="connsiteX41" fmla="*/ 2633399 w 7698713"/>
                <a:gd name="connsiteY41" fmla="*/ 6441886 h 6587148"/>
                <a:gd name="connsiteX42" fmla="*/ 2105504 w 7698713"/>
                <a:gd name="connsiteY42" fmla="*/ 5887312 h 6587148"/>
                <a:gd name="connsiteX43" fmla="*/ 2258645 w 7698713"/>
                <a:gd name="connsiteY43" fmla="*/ 5296967 h 6587148"/>
                <a:gd name="connsiteX44" fmla="*/ 1758953 w 7698713"/>
                <a:gd name="connsiteY44" fmla="*/ 5784550 h 6587148"/>
                <a:gd name="connsiteX45" fmla="*/ 1793206 w 7698713"/>
                <a:gd name="connsiteY45" fmla="*/ 6213716 h 6587148"/>
                <a:gd name="connsiteX46" fmla="*/ 1872826 w 7698713"/>
                <a:gd name="connsiteY46" fmla="*/ 6558522 h 6587148"/>
                <a:gd name="connsiteX47" fmla="*/ 1882602 w 7698713"/>
                <a:gd name="connsiteY47" fmla="*/ 6587148 h 6587148"/>
                <a:gd name="connsiteX48" fmla="*/ 1600806 w 7698713"/>
                <a:gd name="connsiteY48" fmla="*/ 6587148 h 6587148"/>
                <a:gd name="connsiteX49" fmla="*/ 1579950 w 7698713"/>
                <a:gd name="connsiteY49" fmla="*/ 6472838 h 6587148"/>
                <a:gd name="connsiteX50" fmla="*/ 1237111 w 7698713"/>
                <a:gd name="connsiteY50" fmla="*/ 5552849 h 6587148"/>
                <a:gd name="connsiteX51" fmla="*/ 1585684 w 7698713"/>
                <a:gd name="connsiteY51" fmla="*/ 4980620 h 6587148"/>
                <a:gd name="connsiteX52" fmla="*/ 1351962 w 7698713"/>
                <a:gd name="connsiteY52" fmla="*/ 4188818 h 6587148"/>
                <a:gd name="connsiteX53" fmla="*/ 1527255 w 7698713"/>
                <a:gd name="connsiteY53" fmla="*/ 3703230 h 6587148"/>
                <a:gd name="connsiteX54" fmla="*/ 1251223 w 7698713"/>
                <a:gd name="connsiteY54" fmla="*/ 3548088 h 6587148"/>
                <a:gd name="connsiteX55" fmla="*/ 991298 w 7698713"/>
                <a:gd name="connsiteY55" fmla="*/ 3834216 h 6587148"/>
                <a:gd name="connsiteX56" fmla="*/ 1130328 w 7698713"/>
                <a:gd name="connsiteY56" fmla="*/ 4094116 h 6587148"/>
                <a:gd name="connsiteX57" fmla="*/ 789820 w 7698713"/>
                <a:gd name="connsiteY57" fmla="*/ 4055835 h 6587148"/>
                <a:gd name="connsiteX58" fmla="*/ 787811 w 7698713"/>
                <a:gd name="connsiteY58" fmla="*/ 4055835 h 6587148"/>
                <a:gd name="connsiteX59" fmla="*/ 1146451 w 7698713"/>
                <a:gd name="connsiteY59" fmla="*/ 4990701 h 6587148"/>
                <a:gd name="connsiteX60" fmla="*/ 693101 w 7698713"/>
                <a:gd name="connsiteY60" fmla="*/ 5450087 h 6587148"/>
                <a:gd name="connsiteX61" fmla="*/ 209547 w 7698713"/>
                <a:gd name="connsiteY61" fmla="*/ 5172045 h 6587148"/>
                <a:gd name="connsiteX62" fmla="*/ 584309 w 7698713"/>
                <a:gd name="connsiteY62" fmla="*/ 4948404 h 6587148"/>
                <a:gd name="connsiteX63" fmla="*/ 0 w 7698713"/>
                <a:gd name="connsiteY63" fmla="*/ 3656889 h 6587148"/>
                <a:gd name="connsiteX64" fmla="*/ 771688 w 7698713"/>
                <a:gd name="connsiteY64" fmla="*/ 2927523 h 6587148"/>
                <a:gd name="connsiteX65" fmla="*/ 1732769 w 7698713"/>
                <a:gd name="connsiteY65" fmla="*/ 3536011 h 6587148"/>
                <a:gd name="connsiteX66" fmla="*/ 2178048 w 7698713"/>
                <a:gd name="connsiteY66" fmla="*/ 3352671 h 6587148"/>
                <a:gd name="connsiteX67" fmla="*/ 3536039 w 7698713"/>
                <a:gd name="connsiteY67" fmla="*/ 3173349 h 6587148"/>
                <a:gd name="connsiteX68" fmla="*/ 3864466 w 7698713"/>
                <a:gd name="connsiteY68" fmla="*/ 2806644 h 6587148"/>
                <a:gd name="connsiteX69" fmla="*/ 3761704 w 7698713"/>
                <a:gd name="connsiteY69" fmla="*/ 2687761 h 6587148"/>
                <a:gd name="connsiteX70" fmla="*/ 3658941 w 7698713"/>
                <a:gd name="connsiteY70" fmla="*/ 2768364 h 6587148"/>
                <a:gd name="connsiteX71" fmla="*/ 3556203 w 7698713"/>
                <a:gd name="connsiteY71" fmla="*/ 2554782 h 6587148"/>
                <a:gd name="connsiteX72" fmla="*/ 3636781 w 7698713"/>
                <a:gd name="connsiteY72" fmla="*/ 2319051 h 6587148"/>
                <a:gd name="connsiteX73" fmla="*/ 3386935 w 7698713"/>
                <a:gd name="connsiteY73" fmla="*/ 2292866 h 6587148"/>
                <a:gd name="connsiteX74" fmla="*/ 3618664 w 7698713"/>
                <a:gd name="connsiteY74" fmla="*/ 1752896 h 6587148"/>
                <a:gd name="connsiteX75" fmla="*/ 3618664 w 7698713"/>
                <a:gd name="connsiteY75" fmla="*/ 1750869 h 6587148"/>
                <a:gd name="connsiteX76" fmla="*/ 3251956 w 7698713"/>
                <a:gd name="connsiteY76" fmla="*/ 1281417 h 6587148"/>
                <a:gd name="connsiteX77" fmla="*/ 3350676 w 7698713"/>
                <a:gd name="connsiteY77" fmla="*/ 1323725 h 6587148"/>
                <a:gd name="connsiteX78" fmla="*/ 3435298 w 7698713"/>
                <a:gd name="connsiteY78" fmla="*/ 1220978 h 6587148"/>
                <a:gd name="connsiteX79" fmla="*/ 3237858 w 7698713"/>
                <a:gd name="connsiteY79" fmla="*/ 944948 h 6587148"/>
                <a:gd name="connsiteX80" fmla="*/ 3759707 w 7698713"/>
                <a:gd name="connsiteY80" fmla="*/ 775702 h 6587148"/>
                <a:gd name="connsiteX81" fmla="*/ 3761704 w 7698713"/>
                <a:gd name="connsiteY81" fmla="*/ 773691 h 6587148"/>
                <a:gd name="connsiteX82" fmla="*/ 3767742 w 7698713"/>
                <a:gd name="connsiteY82" fmla="*/ 376766 h 6587148"/>
                <a:gd name="connsiteX83" fmla="*/ 3941027 w 7698713"/>
                <a:gd name="connsiteY83" fmla="*/ 461384 h 6587148"/>
                <a:gd name="connsiteX84" fmla="*/ 4420554 w 7698713"/>
                <a:gd name="connsiteY84" fmla="*/ 141037 h 6587148"/>
                <a:gd name="connsiteX85" fmla="*/ 4545477 w 7698713"/>
                <a:gd name="connsiteY85" fmla="*/ 358635 h 6587148"/>
                <a:gd name="connsiteX86" fmla="*/ 4797344 w 7698713"/>
                <a:gd name="connsiteY86" fmla="*/ 0 h 658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698713" h="6587148">
                  <a:moveTo>
                    <a:pt x="4797344" y="0"/>
                  </a:moveTo>
                  <a:cubicBezTo>
                    <a:pt x="4861827" y="36264"/>
                    <a:pt x="4908167" y="98714"/>
                    <a:pt x="4898085" y="215575"/>
                  </a:cubicBezTo>
                  <a:lnTo>
                    <a:pt x="4900081" y="215575"/>
                  </a:lnTo>
                  <a:lnTo>
                    <a:pt x="4988745" y="36264"/>
                  </a:lnTo>
                  <a:cubicBezTo>
                    <a:pt x="5063284" y="98714"/>
                    <a:pt x="5077383" y="203486"/>
                    <a:pt x="5053202" y="298182"/>
                  </a:cubicBezTo>
                  <a:cubicBezTo>
                    <a:pt x="5047163" y="322358"/>
                    <a:pt x="5039128" y="340503"/>
                    <a:pt x="5039128" y="354602"/>
                  </a:cubicBezTo>
                  <a:cubicBezTo>
                    <a:pt x="5039128" y="425120"/>
                    <a:pt x="5250668" y="477507"/>
                    <a:pt x="5250668" y="634665"/>
                  </a:cubicBezTo>
                  <a:cubicBezTo>
                    <a:pt x="5250668" y="660852"/>
                    <a:pt x="5242608" y="689060"/>
                    <a:pt x="5230530" y="721307"/>
                  </a:cubicBezTo>
                  <a:lnTo>
                    <a:pt x="5714075" y="1331795"/>
                  </a:lnTo>
                  <a:cubicBezTo>
                    <a:pt x="5744295" y="1370068"/>
                    <a:pt x="5754376" y="1410367"/>
                    <a:pt x="5754376" y="1444622"/>
                  </a:cubicBezTo>
                  <a:cubicBezTo>
                    <a:pt x="5754376" y="1571560"/>
                    <a:pt x="5643578" y="1706553"/>
                    <a:pt x="5484393" y="1706553"/>
                  </a:cubicBezTo>
                  <a:cubicBezTo>
                    <a:pt x="5327229" y="1706553"/>
                    <a:pt x="5270806" y="1619911"/>
                    <a:pt x="5262771" y="1579615"/>
                  </a:cubicBezTo>
                  <a:lnTo>
                    <a:pt x="4841663" y="1374103"/>
                  </a:lnTo>
                  <a:cubicBezTo>
                    <a:pt x="4817482" y="1414402"/>
                    <a:pt x="4789283" y="1480885"/>
                    <a:pt x="4789283" y="1555439"/>
                  </a:cubicBezTo>
                  <a:cubicBezTo>
                    <a:pt x="4789283" y="2018847"/>
                    <a:pt x="5444091" y="2030935"/>
                    <a:pt x="5603277" y="2637378"/>
                  </a:cubicBezTo>
                  <a:lnTo>
                    <a:pt x="6252045" y="2421815"/>
                  </a:lnTo>
                  <a:cubicBezTo>
                    <a:pt x="6715452" y="2873122"/>
                    <a:pt x="7205061" y="3310348"/>
                    <a:pt x="7507285" y="3489671"/>
                  </a:cubicBezTo>
                  <a:lnTo>
                    <a:pt x="7698713" y="3733450"/>
                  </a:lnTo>
                  <a:lnTo>
                    <a:pt x="7118444" y="3733450"/>
                  </a:lnTo>
                  <a:lnTo>
                    <a:pt x="7118444" y="3564209"/>
                  </a:lnTo>
                  <a:lnTo>
                    <a:pt x="6959258" y="3519890"/>
                  </a:lnTo>
                  <a:cubicBezTo>
                    <a:pt x="6715452" y="3137065"/>
                    <a:pt x="6385029" y="2927523"/>
                    <a:pt x="6207726" y="2875144"/>
                  </a:cubicBezTo>
                  <a:cubicBezTo>
                    <a:pt x="5992118" y="3006105"/>
                    <a:pt x="5830937" y="3143129"/>
                    <a:pt x="5641557" y="3354667"/>
                  </a:cubicBezTo>
                  <a:cubicBezTo>
                    <a:pt x="5949821" y="3330512"/>
                    <a:pt x="6294369" y="3360732"/>
                    <a:pt x="6582469" y="3415107"/>
                  </a:cubicBezTo>
                  <a:lnTo>
                    <a:pt x="6431369" y="4710638"/>
                  </a:lnTo>
                  <a:lnTo>
                    <a:pt x="6308468" y="5043106"/>
                  </a:lnTo>
                  <a:lnTo>
                    <a:pt x="5982062" y="5321148"/>
                  </a:lnTo>
                  <a:lnTo>
                    <a:pt x="5982062" y="4748944"/>
                  </a:lnTo>
                  <a:lnTo>
                    <a:pt x="6157343" y="4748944"/>
                  </a:lnTo>
                  <a:lnTo>
                    <a:pt x="6108981" y="4567600"/>
                  </a:lnTo>
                  <a:cubicBezTo>
                    <a:pt x="6252045" y="4188818"/>
                    <a:pt x="6270188" y="3934931"/>
                    <a:pt x="6270188" y="3797932"/>
                  </a:cubicBezTo>
                  <a:cubicBezTo>
                    <a:pt x="6270188" y="3755609"/>
                    <a:pt x="6268166" y="3715333"/>
                    <a:pt x="6254067" y="3701234"/>
                  </a:cubicBezTo>
                  <a:cubicBezTo>
                    <a:pt x="6241964" y="3689131"/>
                    <a:pt x="6191606" y="3701234"/>
                    <a:pt x="6147287" y="3713312"/>
                  </a:cubicBezTo>
                  <a:cubicBezTo>
                    <a:pt x="6030424" y="3745553"/>
                    <a:pt x="5838997" y="3836212"/>
                    <a:pt x="5593195" y="4035672"/>
                  </a:cubicBezTo>
                  <a:cubicBezTo>
                    <a:pt x="5371573" y="4217016"/>
                    <a:pt x="5250668" y="4299615"/>
                    <a:pt x="4950465" y="4265377"/>
                  </a:cubicBezTo>
                  <a:cubicBezTo>
                    <a:pt x="4611955" y="4615962"/>
                    <a:pt x="3894686" y="4785202"/>
                    <a:pt x="3266055" y="4777142"/>
                  </a:cubicBezTo>
                  <a:cubicBezTo>
                    <a:pt x="3217693" y="5286885"/>
                    <a:pt x="2653545" y="5581047"/>
                    <a:pt x="2653545" y="5822830"/>
                  </a:cubicBezTo>
                  <a:cubicBezTo>
                    <a:pt x="2653545" y="5909472"/>
                    <a:pt x="2736145" y="6050514"/>
                    <a:pt x="2917490" y="6322517"/>
                  </a:cubicBezTo>
                  <a:cubicBezTo>
                    <a:pt x="2967861" y="6398073"/>
                    <a:pt x="3017602" y="6472872"/>
                    <a:pt x="3067594" y="6544019"/>
                  </a:cubicBezTo>
                  <a:lnTo>
                    <a:pt x="3098931" y="6587148"/>
                  </a:lnTo>
                  <a:lnTo>
                    <a:pt x="2739729" y="6587148"/>
                  </a:lnTo>
                  <a:lnTo>
                    <a:pt x="2633399" y="6441886"/>
                  </a:lnTo>
                  <a:cubicBezTo>
                    <a:pt x="2484803" y="6256019"/>
                    <a:pt x="2309006" y="6068643"/>
                    <a:pt x="2105504" y="5887312"/>
                  </a:cubicBezTo>
                  <a:cubicBezTo>
                    <a:pt x="2204234" y="5689848"/>
                    <a:pt x="2256621" y="5488367"/>
                    <a:pt x="2258645" y="5296967"/>
                  </a:cubicBezTo>
                  <a:cubicBezTo>
                    <a:pt x="2075283" y="5572987"/>
                    <a:pt x="1807321" y="5575008"/>
                    <a:pt x="1758953" y="5784550"/>
                  </a:cubicBezTo>
                  <a:cubicBezTo>
                    <a:pt x="1740819" y="5863132"/>
                    <a:pt x="1750898" y="6016251"/>
                    <a:pt x="1793206" y="6213716"/>
                  </a:cubicBezTo>
                  <a:cubicBezTo>
                    <a:pt x="1816631" y="6325534"/>
                    <a:pt x="1839204" y="6445285"/>
                    <a:pt x="1872826" y="6558522"/>
                  </a:cubicBezTo>
                  <a:lnTo>
                    <a:pt x="1882602" y="6587148"/>
                  </a:lnTo>
                  <a:lnTo>
                    <a:pt x="1600806" y="6587148"/>
                  </a:lnTo>
                  <a:lnTo>
                    <a:pt x="1579950" y="6472838"/>
                  </a:lnTo>
                  <a:cubicBezTo>
                    <a:pt x="1482674" y="6022802"/>
                    <a:pt x="1329291" y="5726625"/>
                    <a:pt x="1237111" y="5552849"/>
                  </a:cubicBezTo>
                  <a:cubicBezTo>
                    <a:pt x="1368085" y="5466207"/>
                    <a:pt x="1585684" y="5266747"/>
                    <a:pt x="1585684" y="4980620"/>
                  </a:cubicBezTo>
                  <a:cubicBezTo>
                    <a:pt x="1585684" y="4702603"/>
                    <a:pt x="1351962" y="4543419"/>
                    <a:pt x="1351962" y="4188818"/>
                  </a:cubicBezTo>
                  <a:cubicBezTo>
                    <a:pt x="1351962" y="3993375"/>
                    <a:pt x="1418446" y="3830173"/>
                    <a:pt x="1527255" y="3703230"/>
                  </a:cubicBezTo>
                  <a:cubicBezTo>
                    <a:pt x="1456736" y="3602489"/>
                    <a:pt x="1374129" y="3548088"/>
                    <a:pt x="1251223" y="3548088"/>
                  </a:cubicBezTo>
                  <a:cubicBezTo>
                    <a:pt x="1114204" y="3548088"/>
                    <a:pt x="991298" y="3660933"/>
                    <a:pt x="991298" y="3834216"/>
                  </a:cubicBezTo>
                  <a:cubicBezTo>
                    <a:pt x="991298" y="3934931"/>
                    <a:pt x="1035632" y="4045754"/>
                    <a:pt x="1130328" y="4094116"/>
                  </a:cubicBezTo>
                  <a:cubicBezTo>
                    <a:pt x="1061817" y="4188818"/>
                    <a:pt x="886526" y="4198874"/>
                    <a:pt x="789820" y="4055835"/>
                  </a:cubicBezTo>
                  <a:lnTo>
                    <a:pt x="787811" y="4055835"/>
                  </a:lnTo>
                  <a:cubicBezTo>
                    <a:pt x="787811" y="4394317"/>
                    <a:pt x="1146451" y="4630061"/>
                    <a:pt x="1146451" y="4990701"/>
                  </a:cubicBezTo>
                  <a:cubicBezTo>
                    <a:pt x="1146451" y="5224424"/>
                    <a:pt x="961078" y="5450087"/>
                    <a:pt x="693101" y="5450087"/>
                  </a:cubicBezTo>
                  <a:cubicBezTo>
                    <a:pt x="493631" y="5450087"/>
                    <a:pt x="306252" y="5357406"/>
                    <a:pt x="209547" y="5172045"/>
                  </a:cubicBezTo>
                  <a:cubicBezTo>
                    <a:pt x="427147" y="5228467"/>
                    <a:pt x="584309" y="5141825"/>
                    <a:pt x="584309" y="4948404"/>
                  </a:cubicBezTo>
                  <a:cubicBezTo>
                    <a:pt x="584309" y="4597820"/>
                    <a:pt x="0" y="4253274"/>
                    <a:pt x="0" y="3656889"/>
                  </a:cubicBezTo>
                  <a:cubicBezTo>
                    <a:pt x="0" y="3187448"/>
                    <a:pt x="360664" y="2927523"/>
                    <a:pt x="771688" y="2927523"/>
                  </a:cubicBezTo>
                  <a:cubicBezTo>
                    <a:pt x="1146451" y="2927523"/>
                    <a:pt x="1480912" y="3100806"/>
                    <a:pt x="1732769" y="3536011"/>
                  </a:cubicBezTo>
                  <a:cubicBezTo>
                    <a:pt x="1861716" y="3439287"/>
                    <a:pt x="2018879" y="3384887"/>
                    <a:pt x="2178048" y="3352671"/>
                  </a:cubicBezTo>
                  <a:cubicBezTo>
                    <a:pt x="2607206" y="3268026"/>
                    <a:pt x="3133073" y="3344585"/>
                    <a:pt x="3536039" y="3173349"/>
                  </a:cubicBezTo>
                  <a:cubicBezTo>
                    <a:pt x="3715363" y="3096789"/>
                    <a:pt x="3864466" y="2961786"/>
                    <a:pt x="3864466" y="2806644"/>
                  </a:cubicBezTo>
                  <a:cubicBezTo>
                    <a:pt x="3864466" y="2732106"/>
                    <a:pt x="3822143" y="2687761"/>
                    <a:pt x="3761704" y="2687761"/>
                  </a:cubicBezTo>
                  <a:cubicBezTo>
                    <a:pt x="3731484" y="2687761"/>
                    <a:pt x="3685144" y="2701860"/>
                    <a:pt x="3658941" y="2768364"/>
                  </a:cubicBezTo>
                  <a:cubicBezTo>
                    <a:pt x="3580384" y="2699865"/>
                    <a:pt x="3556203" y="2627322"/>
                    <a:pt x="3556203" y="2554782"/>
                  </a:cubicBezTo>
                  <a:cubicBezTo>
                    <a:pt x="3556203" y="2433903"/>
                    <a:pt x="3594457" y="2377481"/>
                    <a:pt x="3636781" y="2319051"/>
                  </a:cubicBezTo>
                  <a:cubicBezTo>
                    <a:pt x="3596505" y="2214280"/>
                    <a:pt x="3471556" y="2190101"/>
                    <a:pt x="3386935" y="2292866"/>
                  </a:cubicBezTo>
                  <a:cubicBezTo>
                    <a:pt x="3282176" y="2099442"/>
                    <a:pt x="3346660" y="1833476"/>
                    <a:pt x="3618664" y="1752896"/>
                  </a:cubicBezTo>
                  <a:lnTo>
                    <a:pt x="3618664" y="1750869"/>
                  </a:lnTo>
                  <a:cubicBezTo>
                    <a:pt x="3300319" y="1698485"/>
                    <a:pt x="3215698" y="1501041"/>
                    <a:pt x="3251956" y="1281417"/>
                  </a:cubicBezTo>
                  <a:cubicBezTo>
                    <a:pt x="3282176" y="1307617"/>
                    <a:pt x="3316439" y="1323725"/>
                    <a:pt x="3350676" y="1323725"/>
                  </a:cubicBezTo>
                  <a:cubicBezTo>
                    <a:pt x="3403082" y="1323725"/>
                    <a:pt x="3435298" y="1281417"/>
                    <a:pt x="3435298" y="1220978"/>
                  </a:cubicBezTo>
                  <a:cubicBezTo>
                    <a:pt x="3435298" y="1156503"/>
                    <a:pt x="3403082" y="1055765"/>
                    <a:pt x="3237858" y="944948"/>
                  </a:cubicBezTo>
                  <a:cubicBezTo>
                    <a:pt x="3382918" y="727348"/>
                    <a:pt x="3632763" y="695104"/>
                    <a:pt x="3759707" y="775702"/>
                  </a:cubicBezTo>
                  <a:lnTo>
                    <a:pt x="3761704" y="773691"/>
                  </a:lnTo>
                  <a:cubicBezTo>
                    <a:pt x="3697221" y="685028"/>
                    <a:pt x="3664979" y="529891"/>
                    <a:pt x="3767742" y="376766"/>
                  </a:cubicBezTo>
                  <a:cubicBezTo>
                    <a:pt x="3791923" y="411021"/>
                    <a:pt x="3850367" y="461384"/>
                    <a:pt x="3941027" y="461384"/>
                  </a:cubicBezTo>
                  <a:cubicBezTo>
                    <a:pt x="4206993" y="461384"/>
                    <a:pt x="4217076" y="169232"/>
                    <a:pt x="4420554" y="141037"/>
                  </a:cubicBezTo>
                  <a:cubicBezTo>
                    <a:pt x="4408476" y="231697"/>
                    <a:pt x="4432632" y="358635"/>
                    <a:pt x="4545477" y="358635"/>
                  </a:cubicBezTo>
                  <a:cubicBezTo>
                    <a:pt x="4692559" y="358635"/>
                    <a:pt x="4761059" y="137002"/>
                    <a:pt x="4797344" y="0"/>
                  </a:cubicBezTo>
                  <a:close/>
                </a:path>
              </a:pathLst>
            </a:custGeom>
            <a:solidFill>
              <a:srgbClr val="000000"/>
            </a:solidFill>
            <a:ln w="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1A4FCC2-4C3C-125B-0668-D058CE7F7E67}"/>
                </a:ext>
              </a:extLst>
            </p:cNvPr>
            <p:cNvSpPr/>
            <p:nvPr/>
          </p:nvSpPr>
          <p:spPr>
            <a:xfrm>
              <a:off x="2438372" y="702017"/>
              <a:ext cx="5435703" cy="3896673"/>
            </a:xfrm>
            <a:custGeom>
              <a:avLst/>
              <a:gdLst>
                <a:gd name="connsiteX0" fmla="*/ 606147 w 5435703"/>
                <a:gd name="connsiteY0" fmla="*/ 2659560 h 3896673"/>
                <a:gd name="connsiteX1" fmla="*/ 1017171 w 5435703"/>
                <a:gd name="connsiteY1" fmla="*/ 2798607 h 3896673"/>
                <a:gd name="connsiteX2" fmla="*/ 285797 w 5435703"/>
                <a:gd name="connsiteY2" fmla="*/ 3094765 h 3896673"/>
                <a:gd name="connsiteX3" fmla="*/ 217287 w 5435703"/>
                <a:gd name="connsiteY3" fmla="*/ 2921507 h 3896673"/>
                <a:gd name="connsiteX4" fmla="*/ 13784 w 5435703"/>
                <a:gd name="connsiteY4" fmla="*/ 3270070 h 3896673"/>
                <a:gd name="connsiteX5" fmla="*/ 606147 w 5435703"/>
                <a:gd name="connsiteY5" fmla="*/ 2659560 h 3896673"/>
                <a:gd name="connsiteX6" fmla="*/ 2167655 w 5435703"/>
                <a:gd name="connsiteY6" fmla="*/ 3062549 h 3896673"/>
                <a:gd name="connsiteX7" fmla="*/ 3525656 w 5435703"/>
                <a:gd name="connsiteY7" fmla="*/ 2842926 h 3896673"/>
                <a:gd name="connsiteX8" fmla="*/ 3934661 w 5435703"/>
                <a:gd name="connsiteY8" fmla="*/ 2343239 h 3896673"/>
                <a:gd name="connsiteX9" fmla="*/ 3594156 w 5435703"/>
                <a:gd name="connsiteY9" fmla="*/ 1208890 h 3896673"/>
                <a:gd name="connsiteX10" fmla="*/ 4210683 w 5435703"/>
                <a:gd name="connsiteY10" fmla="*/ 145070 h 3896673"/>
                <a:gd name="connsiteX11" fmla="*/ 3791622 w 5435703"/>
                <a:gd name="connsiteY11" fmla="*/ 1015466 h 3896673"/>
                <a:gd name="connsiteX12" fmla="*/ 4381947 w 5435703"/>
                <a:gd name="connsiteY12" fmla="*/ 1902001 h 3896673"/>
                <a:gd name="connsiteX13" fmla="*/ 5133504 w 5435703"/>
                <a:gd name="connsiteY13" fmla="*/ 2300942 h 3896673"/>
                <a:gd name="connsiteX14" fmla="*/ 4770814 w 5435703"/>
                <a:gd name="connsiteY14" fmla="*/ 2180037 h 3896673"/>
                <a:gd name="connsiteX15" fmla="*/ 3100530 w 5435703"/>
                <a:gd name="connsiteY15" fmla="*/ 3753610 h 3896673"/>
                <a:gd name="connsiteX16" fmla="*/ 2318757 w 5435703"/>
                <a:gd name="connsiteY16" fmla="*/ 3201545 h 3896673"/>
                <a:gd name="connsiteX17" fmla="*/ 1375826 w 5435703"/>
                <a:gd name="connsiteY17" fmla="*/ 3896674 h 3896673"/>
                <a:gd name="connsiteX18" fmla="*/ 2167655 w 5435703"/>
                <a:gd name="connsiteY18" fmla="*/ 3062549 h 3896673"/>
                <a:gd name="connsiteX19" fmla="*/ 5197962 w 5435703"/>
                <a:gd name="connsiteY19" fmla="*/ 1075921 h 3896673"/>
                <a:gd name="connsiteX20" fmla="*/ 5218125 w 5435703"/>
                <a:gd name="connsiteY20" fmla="*/ 932860 h 3896673"/>
                <a:gd name="connsiteX21" fmla="*/ 5179845 w 5435703"/>
                <a:gd name="connsiteY21" fmla="*/ 824069 h 3896673"/>
                <a:gd name="connsiteX22" fmla="*/ 4960220 w 5435703"/>
                <a:gd name="connsiteY22" fmla="*/ 539970 h 3896673"/>
                <a:gd name="connsiteX23" fmla="*/ 4595534 w 5435703"/>
                <a:gd name="connsiteY23" fmla="*/ 396924 h 3896673"/>
                <a:gd name="connsiteX24" fmla="*/ 4748655 w 5435703"/>
                <a:gd name="connsiteY24" fmla="*/ 191413 h 3896673"/>
                <a:gd name="connsiteX25" fmla="*/ 4657995 w 5435703"/>
                <a:gd name="connsiteY25" fmla="*/ 0 h 3896673"/>
                <a:gd name="connsiteX26" fmla="*/ 4954181 w 5435703"/>
                <a:gd name="connsiteY26" fmla="*/ 219624 h 3896673"/>
                <a:gd name="connsiteX27" fmla="*/ 4917896 w 5435703"/>
                <a:gd name="connsiteY27" fmla="*/ 290142 h 3896673"/>
                <a:gd name="connsiteX28" fmla="*/ 5435704 w 5435703"/>
                <a:gd name="connsiteY28" fmla="*/ 938903 h 3896673"/>
                <a:gd name="connsiteX29" fmla="*/ 5343022 w 5435703"/>
                <a:gd name="connsiteY29" fmla="*/ 955027 h 3896673"/>
                <a:gd name="connsiteX30" fmla="*/ 5306764 w 5435703"/>
                <a:gd name="connsiteY30" fmla="*/ 993314 h 3896673"/>
                <a:gd name="connsiteX31" fmla="*/ 5361165 w 5435703"/>
                <a:gd name="connsiteY31" fmla="*/ 1122264 h 3896673"/>
                <a:gd name="connsiteX32" fmla="*/ 5282583 w 5435703"/>
                <a:gd name="connsiteY32" fmla="*/ 1144415 h 3896673"/>
                <a:gd name="connsiteX33" fmla="*/ 5197962 w 5435703"/>
                <a:gd name="connsiteY33" fmla="*/ 1075923 h 389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435703" h="3896673">
                  <a:moveTo>
                    <a:pt x="606147" y="2659560"/>
                  </a:moveTo>
                  <a:cubicBezTo>
                    <a:pt x="727042" y="2659560"/>
                    <a:pt x="898300" y="2687784"/>
                    <a:pt x="1017171" y="2798607"/>
                  </a:cubicBezTo>
                  <a:cubicBezTo>
                    <a:pt x="735097" y="2669642"/>
                    <a:pt x="316017" y="2754262"/>
                    <a:pt x="285797" y="3094765"/>
                  </a:cubicBezTo>
                  <a:cubicBezTo>
                    <a:pt x="237428" y="3042386"/>
                    <a:pt x="221322" y="2977903"/>
                    <a:pt x="217287" y="2921507"/>
                  </a:cubicBezTo>
                  <a:cubicBezTo>
                    <a:pt x="112513" y="2969843"/>
                    <a:pt x="33941" y="3114903"/>
                    <a:pt x="13784" y="3270070"/>
                  </a:cubicBezTo>
                  <a:cubicBezTo>
                    <a:pt x="-68823" y="2899348"/>
                    <a:pt x="231386" y="2659560"/>
                    <a:pt x="606147" y="2659560"/>
                  </a:cubicBezTo>
                  <a:close/>
                  <a:moveTo>
                    <a:pt x="2167655" y="3062549"/>
                  </a:moveTo>
                  <a:cubicBezTo>
                    <a:pt x="2558516" y="3014162"/>
                    <a:pt x="3090448" y="3058506"/>
                    <a:pt x="3525656" y="2842926"/>
                  </a:cubicBezTo>
                  <a:cubicBezTo>
                    <a:pt x="3729160" y="2742185"/>
                    <a:pt x="3934661" y="2572919"/>
                    <a:pt x="3934661" y="2343239"/>
                  </a:cubicBezTo>
                  <a:cubicBezTo>
                    <a:pt x="3934661" y="2067214"/>
                    <a:pt x="3594156" y="1795203"/>
                    <a:pt x="3594156" y="1208890"/>
                  </a:cubicBezTo>
                  <a:cubicBezTo>
                    <a:pt x="3594156" y="826077"/>
                    <a:pt x="3763398" y="384837"/>
                    <a:pt x="4210683" y="145070"/>
                  </a:cubicBezTo>
                  <a:cubicBezTo>
                    <a:pt x="3926601" y="390881"/>
                    <a:pt x="3791622" y="672952"/>
                    <a:pt x="3791622" y="1015466"/>
                  </a:cubicBezTo>
                  <a:cubicBezTo>
                    <a:pt x="3791622" y="1360004"/>
                    <a:pt x="3926601" y="1722676"/>
                    <a:pt x="4381947" y="1902001"/>
                  </a:cubicBezTo>
                  <a:cubicBezTo>
                    <a:pt x="4704336" y="2028923"/>
                    <a:pt x="5004539" y="2032959"/>
                    <a:pt x="5133504" y="2300942"/>
                  </a:cubicBezTo>
                  <a:cubicBezTo>
                    <a:pt x="5018638" y="2210257"/>
                    <a:pt x="4873577" y="2180037"/>
                    <a:pt x="4770814" y="2180037"/>
                  </a:cubicBezTo>
                  <a:cubicBezTo>
                    <a:pt x="4116006" y="2180037"/>
                    <a:pt x="3868182" y="3405048"/>
                    <a:pt x="3100530" y="3753610"/>
                  </a:cubicBezTo>
                  <a:cubicBezTo>
                    <a:pt x="3263732" y="3328488"/>
                    <a:pt x="2772102" y="3191488"/>
                    <a:pt x="2318757" y="3201545"/>
                  </a:cubicBezTo>
                  <a:cubicBezTo>
                    <a:pt x="1948029" y="3209630"/>
                    <a:pt x="1381867" y="3310346"/>
                    <a:pt x="1375826" y="3896674"/>
                  </a:cubicBezTo>
                  <a:cubicBezTo>
                    <a:pt x="1271052" y="3503792"/>
                    <a:pt x="1496706" y="3145148"/>
                    <a:pt x="2167655" y="3062549"/>
                  </a:cubicBezTo>
                  <a:close/>
                  <a:moveTo>
                    <a:pt x="5197962" y="1075921"/>
                  </a:moveTo>
                  <a:cubicBezTo>
                    <a:pt x="5197962" y="1041668"/>
                    <a:pt x="5218125" y="983238"/>
                    <a:pt x="5218125" y="932860"/>
                  </a:cubicBezTo>
                  <a:cubicBezTo>
                    <a:pt x="5218125" y="906675"/>
                    <a:pt x="5212061" y="874431"/>
                    <a:pt x="5179845" y="824069"/>
                  </a:cubicBezTo>
                  <a:cubicBezTo>
                    <a:pt x="5133504" y="753550"/>
                    <a:pt x="5044840" y="630645"/>
                    <a:pt x="4960220" y="539970"/>
                  </a:cubicBezTo>
                  <a:cubicBezTo>
                    <a:pt x="4847400" y="421100"/>
                    <a:pt x="4748655" y="386845"/>
                    <a:pt x="4595534" y="396924"/>
                  </a:cubicBezTo>
                  <a:cubicBezTo>
                    <a:pt x="4720456" y="328415"/>
                    <a:pt x="4748655" y="263943"/>
                    <a:pt x="4748655" y="191413"/>
                  </a:cubicBezTo>
                  <a:cubicBezTo>
                    <a:pt x="4748655" y="128949"/>
                    <a:pt x="4714417" y="62463"/>
                    <a:pt x="4657995" y="0"/>
                  </a:cubicBezTo>
                  <a:cubicBezTo>
                    <a:pt x="4738573" y="14099"/>
                    <a:pt x="4954181" y="102762"/>
                    <a:pt x="4954181" y="219624"/>
                  </a:cubicBezTo>
                  <a:cubicBezTo>
                    <a:pt x="4954181" y="243799"/>
                    <a:pt x="4942078" y="265951"/>
                    <a:pt x="4917896" y="290142"/>
                  </a:cubicBezTo>
                  <a:lnTo>
                    <a:pt x="5435704" y="938903"/>
                  </a:lnTo>
                  <a:cubicBezTo>
                    <a:pt x="5417587" y="967115"/>
                    <a:pt x="5377285" y="955027"/>
                    <a:pt x="5343022" y="955027"/>
                  </a:cubicBezTo>
                  <a:cubicBezTo>
                    <a:pt x="5320889" y="955027"/>
                    <a:pt x="5306764" y="969126"/>
                    <a:pt x="5306764" y="993314"/>
                  </a:cubicBezTo>
                  <a:cubicBezTo>
                    <a:pt x="5306764" y="1037633"/>
                    <a:pt x="5341026" y="1092029"/>
                    <a:pt x="5361165" y="1122264"/>
                  </a:cubicBezTo>
                  <a:cubicBezTo>
                    <a:pt x="5345044" y="1132327"/>
                    <a:pt x="5314824" y="1144415"/>
                    <a:pt x="5282583" y="1144415"/>
                  </a:cubicBezTo>
                  <a:cubicBezTo>
                    <a:pt x="5242281" y="1144415"/>
                    <a:pt x="5197962" y="1130319"/>
                    <a:pt x="5197962" y="1075923"/>
                  </a:cubicBezTo>
                  <a:close/>
                </a:path>
              </a:pathLst>
            </a:custGeom>
            <a:solidFill>
              <a:srgbClr val="0BE248"/>
            </a:solidFill>
            <a:ln w="0" cap="flat">
              <a:noFill/>
              <a:prstDash val="solid"/>
              <a:miter/>
            </a:ln>
          </p:spPr>
          <p:txBody>
            <a:bodyPr rtlCol="0" anchor="ctr"/>
            <a:lstStyle/>
            <a:p>
              <a:endParaRPr lang="en-GB"/>
            </a:p>
          </p:txBody>
        </p:sp>
      </p:grpSp>
      <p:sp>
        <p:nvSpPr>
          <p:cNvPr id="21" name="Title 14">
            <a:extLst>
              <a:ext uri="{FF2B5EF4-FFF2-40B4-BE49-F238E27FC236}">
                <a16:creationId xmlns:a16="http://schemas.microsoft.com/office/drawing/2014/main" id="{248C9794-E017-B221-E87C-6CCAE63678A7}"/>
              </a:ext>
            </a:extLst>
          </p:cNvPr>
          <p:cNvSpPr>
            <a:spLocks noGrp="1"/>
          </p:cNvSpPr>
          <p:nvPr>
            <p:ph type="title" hasCustomPrompt="1"/>
          </p:nvPr>
        </p:nvSpPr>
        <p:spPr>
          <a:xfrm>
            <a:off x="396240" y="4224870"/>
            <a:ext cx="11399520" cy="1709392"/>
          </a:xfrm>
          <a:prstGeom prst="rect">
            <a:avLst/>
          </a:prstGeom>
        </p:spPr>
        <p:txBody>
          <a:bodyPr vert="horz" anchor="b"/>
          <a:lstStyle>
            <a:lvl1pPr algn="ctr">
              <a:lnSpc>
                <a:spcPct val="85000"/>
              </a:lnSpc>
              <a:defRPr sz="5400" spc="-20" baseline="0">
                <a:solidFill>
                  <a:schemeClr val="bg1"/>
                </a:solidFill>
                <a:latin typeface="GT Ultra Median Lloyds Black" panose="020B0604020202020204" charset="0"/>
              </a:defRPr>
            </a:lvl1pPr>
          </a:lstStyle>
          <a:p>
            <a:r>
              <a:rPr lang="en-US"/>
              <a:t>Click to edit Master </a:t>
            </a:r>
            <a:br>
              <a:rPr lang="en-US"/>
            </a:br>
            <a:r>
              <a:rPr lang="en-US"/>
              <a:t>title style</a:t>
            </a:r>
            <a:endParaRPr lang="en-GB"/>
          </a:p>
        </p:txBody>
      </p:sp>
      <p:sp>
        <p:nvSpPr>
          <p:cNvPr id="23" name="Text Placeholder 3">
            <a:extLst>
              <a:ext uri="{FF2B5EF4-FFF2-40B4-BE49-F238E27FC236}">
                <a16:creationId xmlns:a16="http://schemas.microsoft.com/office/drawing/2014/main" id="{8B3016D5-E343-037E-A477-394C1DF04A06}"/>
              </a:ext>
            </a:extLst>
          </p:cNvPr>
          <p:cNvSpPr>
            <a:spLocks noGrp="1"/>
          </p:cNvSpPr>
          <p:nvPr>
            <p:ph type="body" sz="quarter" idx="14"/>
          </p:nvPr>
        </p:nvSpPr>
        <p:spPr>
          <a:xfrm>
            <a:off x="396240" y="6034475"/>
            <a:ext cx="11399520" cy="394585"/>
          </a:xfrm>
        </p:spPr>
        <p:txBody>
          <a:bodyPr anchor="t"/>
          <a:lstStyle>
            <a:lvl1pPr algn="ctr">
              <a:defRPr b="0">
                <a:solidFill>
                  <a:schemeClr val="bg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p:ph type="dt" sz="half" idx="12"/>
          </p:nvPr>
        </p:nvSpPr>
        <p:spPr/>
        <p:txBody>
          <a:bodyPr/>
          <a:lstStyle>
            <a:lvl1pPr>
              <a:defRPr>
                <a:solidFill>
                  <a:schemeClr val="bg1"/>
                </a:solidFill>
              </a:defRPr>
            </a:lvl1pPr>
          </a:lstStyle>
          <a:p>
            <a:fld id="{0FF81978-7425-4821-AC1B-FA4BC778E887}"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180143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Title Slide (Expressive Cancara 04)">
    <p:bg>
      <p:bgPr>
        <a:solidFill>
          <a:srgbClr val="6CF479"/>
        </a:solidFill>
        <a:effectLst/>
      </p:bgPr>
    </p:bg>
    <p:spTree>
      <p:nvGrpSpPr>
        <p:cNvPr id="1" name=""/>
        <p:cNvGrpSpPr/>
        <p:nvPr/>
      </p:nvGrpSpPr>
      <p:grpSpPr>
        <a:xfrm>
          <a:off x="0" y="0"/>
          <a:ext cx="0" cy="0"/>
          <a:chOff x="0" y="0"/>
          <a:chExt cx="0" cy="0"/>
        </a:xfrm>
      </p:grpSpPr>
      <p:grpSp>
        <p:nvGrpSpPr>
          <p:cNvPr id="2" name="Group 1" descr="Extreme close up of Lloyds Banking Group logo">
            <a:extLst>
              <a:ext uri="{FF2B5EF4-FFF2-40B4-BE49-F238E27FC236}">
                <a16:creationId xmlns:a16="http://schemas.microsoft.com/office/drawing/2014/main" id="{0F632455-D4BE-0570-63FA-13096379C804}"/>
              </a:ext>
            </a:extLst>
          </p:cNvPr>
          <p:cNvGrpSpPr/>
          <p:nvPr userDrawn="1"/>
        </p:nvGrpSpPr>
        <p:grpSpPr>
          <a:xfrm>
            <a:off x="0" y="390525"/>
            <a:ext cx="7513320" cy="6467475"/>
            <a:chOff x="0" y="390525"/>
            <a:chExt cx="7513320" cy="6467475"/>
          </a:xfrm>
        </p:grpSpPr>
        <p:sp>
          <p:nvSpPr>
            <p:cNvPr id="20" name="Freeform: Shape 19">
              <a:extLst>
                <a:ext uri="{FF2B5EF4-FFF2-40B4-BE49-F238E27FC236}">
                  <a16:creationId xmlns:a16="http://schemas.microsoft.com/office/drawing/2014/main" id="{A2634314-D52B-F3FB-3A41-6BAC6AFCF95C}"/>
                </a:ext>
              </a:extLst>
            </p:cNvPr>
            <p:cNvSpPr/>
            <p:nvPr/>
          </p:nvSpPr>
          <p:spPr>
            <a:xfrm>
              <a:off x="0" y="390525"/>
              <a:ext cx="7513320" cy="6467475"/>
            </a:xfrm>
            <a:custGeom>
              <a:avLst/>
              <a:gdLst>
                <a:gd name="connsiteX0" fmla="*/ 3356207 w 7513320"/>
                <a:gd name="connsiteY0" fmla="*/ 0 h 6467475"/>
                <a:gd name="connsiteX1" fmla="*/ 3500550 w 7513320"/>
                <a:gd name="connsiteY1" fmla="*/ 308878 h 6467475"/>
                <a:gd name="connsiteX2" fmla="*/ 3503411 w 7513320"/>
                <a:gd name="connsiteY2" fmla="*/ 308878 h 6467475"/>
                <a:gd name="connsiteX3" fmla="*/ 3630449 w 7513320"/>
                <a:gd name="connsiteY3" fmla="*/ 51960 h 6467475"/>
                <a:gd name="connsiteX4" fmla="*/ 3722804 w 7513320"/>
                <a:gd name="connsiteY4" fmla="*/ 427239 h 6467475"/>
                <a:gd name="connsiteX5" fmla="*/ 3702639 w 7513320"/>
                <a:gd name="connsiteY5" fmla="*/ 508078 h 6467475"/>
                <a:gd name="connsiteX6" fmla="*/ 4005735 w 7513320"/>
                <a:gd name="connsiteY6" fmla="*/ 909355 h 6467475"/>
                <a:gd name="connsiteX7" fmla="*/ 3976881 w 7513320"/>
                <a:gd name="connsiteY7" fmla="*/ 1033497 h 6467475"/>
                <a:gd name="connsiteX8" fmla="*/ 4669710 w 7513320"/>
                <a:gd name="connsiteY8" fmla="*/ 1908211 h 6467475"/>
                <a:gd name="connsiteX9" fmla="*/ 4727453 w 7513320"/>
                <a:gd name="connsiteY9" fmla="*/ 2069870 h 6467475"/>
                <a:gd name="connsiteX10" fmla="*/ 4340619 w 7513320"/>
                <a:gd name="connsiteY10" fmla="*/ 2445168 h 6467475"/>
                <a:gd name="connsiteX11" fmla="*/ 4023076 w 7513320"/>
                <a:gd name="connsiteY11" fmla="*/ 2263290 h 6467475"/>
                <a:gd name="connsiteX12" fmla="*/ 3419708 w 7513320"/>
                <a:gd name="connsiteY12" fmla="*/ 1968830 h 6467475"/>
                <a:gd name="connsiteX13" fmla="*/ 3344658 w 7513320"/>
                <a:gd name="connsiteY13" fmla="*/ 2228650 h 6467475"/>
                <a:gd name="connsiteX14" fmla="*/ 4510957 w 7513320"/>
                <a:gd name="connsiteY14" fmla="*/ 3778864 h 6467475"/>
                <a:gd name="connsiteX15" fmla="*/ 5440518 w 7513320"/>
                <a:gd name="connsiteY15" fmla="*/ 3470003 h 6467475"/>
                <a:gd name="connsiteX16" fmla="*/ 7239040 w 7513320"/>
                <a:gd name="connsiteY16" fmla="*/ 5000039 h 6467475"/>
                <a:gd name="connsiteX17" fmla="*/ 7513320 w 7513320"/>
                <a:gd name="connsiteY17" fmla="*/ 5349328 h 6467475"/>
                <a:gd name="connsiteX18" fmla="*/ 6681904 w 7513320"/>
                <a:gd name="connsiteY18" fmla="*/ 5349328 h 6467475"/>
                <a:gd name="connsiteX19" fmla="*/ 6681904 w 7513320"/>
                <a:gd name="connsiteY19" fmla="*/ 5106838 h 6467475"/>
                <a:gd name="connsiteX20" fmla="*/ 6453821 w 7513320"/>
                <a:gd name="connsiteY20" fmla="*/ 5043337 h 6467475"/>
                <a:gd name="connsiteX21" fmla="*/ 5377018 w 7513320"/>
                <a:gd name="connsiteY21" fmla="*/ 4119538 h 6467475"/>
                <a:gd name="connsiteX22" fmla="*/ 4565805 w 7513320"/>
                <a:gd name="connsiteY22" fmla="*/ 4806603 h 6467475"/>
                <a:gd name="connsiteX23" fmla="*/ 5913954 w 7513320"/>
                <a:gd name="connsiteY23" fmla="*/ 4893203 h 6467475"/>
                <a:gd name="connsiteX24" fmla="*/ 5730344 w 7513320"/>
                <a:gd name="connsiteY24" fmla="*/ 6467475 h 6467475"/>
                <a:gd name="connsiteX25" fmla="*/ 5262683 w 7513320"/>
                <a:gd name="connsiteY25" fmla="*/ 6467475 h 6467475"/>
                <a:gd name="connsiteX26" fmla="*/ 5304313 w 7513320"/>
                <a:gd name="connsiteY26" fmla="*/ 6349352 h 6467475"/>
                <a:gd name="connsiteX27" fmla="*/ 5466514 w 7513320"/>
                <a:gd name="connsiteY27" fmla="*/ 5441718 h 6467475"/>
                <a:gd name="connsiteX28" fmla="*/ 5443416 w 7513320"/>
                <a:gd name="connsiteY28" fmla="*/ 5303168 h 6467475"/>
                <a:gd name="connsiteX29" fmla="*/ 5290420 w 7513320"/>
                <a:gd name="connsiteY29" fmla="*/ 5320474 h 6467475"/>
                <a:gd name="connsiteX30" fmla="*/ 4496511 w 7513320"/>
                <a:gd name="connsiteY30" fmla="*/ 5782355 h 6467475"/>
                <a:gd name="connsiteX31" fmla="*/ 3575601 w 7513320"/>
                <a:gd name="connsiteY31" fmla="*/ 6111479 h 6467475"/>
                <a:gd name="connsiteX32" fmla="*/ 3120545 w 7513320"/>
                <a:gd name="connsiteY32" fmla="*/ 6439592 h 6467475"/>
                <a:gd name="connsiteX33" fmla="*/ 3058479 w 7513320"/>
                <a:gd name="connsiteY33" fmla="*/ 6467475 h 6467475"/>
                <a:gd name="connsiteX34" fmla="*/ 0 w 7513320"/>
                <a:gd name="connsiteY34" fmla="*/ 6467475 h 6467475"/>
                <a:gd name="connsiteX35" fmla="*/ 0 w 7513320"/>
                <a:gd name="connsiteY35" fmla="*/ 4754244 h 6467475"/>
                <a:gd name="connsiteX36" fmla="*/ 85493 w 7513320"/>
                <a:gd name="connsiteY36" fmla="*/ 4746935 h 6467475"/>
                <a:gd name="connsiteX37" fmla="*/ 1548996 w 7513320"/>
                <a:gd name="connsiteY37" fmla="*/ 4546809 h 6467475"/>
                <a:gd name="connsiteX38" fmla="*/ 2019570 w 7513320"/>
                <a:gd name="connsiteY38" fmla="*/ 4021390 h 6467475"/>
                <a:gd name="connsiteX39" fmla="*/ 1872331 w 7513320"/>
                <a:gd name="connsiteY39" fmla="*/ 3851053 h 6467475"/>
                <a:gd name="connsiteX40" fmla="*/ 1725091 w 7513320"/>
                <a:gd name="connsiteY40" fmla="*/ 3966542 h 6467475"/>
                <a:gd name="connsiteX41" fmla="*/ 1577887 w 7513320"/>
                <a:gd name="connsiteY41" fmla="*/ 3660519 h 6467475"/>
                <a:gd name="connsiteX42" fmla="*/ 1693340 w 7513320"/>
                <a:gd name="connsiteY42" fmla="*/ 3322762 h 6467475"/>
                <a:gd name="connsiteX43" fmla="*/ 1335358 w 7513320"/>
                <a:gd name="connsiteY43" fmla="*/ 3285243 h 6467475"/>
                <a:gd name="connsiteX44" fmla="*/ 1667382 w 7513320"/>
                <a:gd name="connsiteY44" fmla="*/ 2511568 h 6467475"/>
                <a:gd name="connsiteX45" fmla="*/ 1667382 w 7513320"/>
                <a:gd name="connsiteY45" fmla="*/ 2508664 h 6467475"/>
                <a:gd name="connsiteX46" fmla="*/ 1141959 w 7513320"/>
                <a:gd name="connsiteY46" fmla="*/ 1836028 h 6467475"/>
                <a:gd name="connsiteX47" fmla="*/ 1283406 w 7513320"/>
                <a:gd name="connsiteY47" fmla="*/ 1896648 h 6467475"/>
                <a:gd name="connsiteX48" fmla="*/ 1404653 w 7513320"/>
                <a:gd name="connsiteY48" fmla="*/ 1749431 h 6467475"/>
                <a:gd name="connsiteX49" fmla="*/ 1121760 w 7513320"/>
                <a:gd name="connsiteY49" fmla="*/ 1353932 h 6467475"/>
                <a:gd name="connsiteX50" fmla="*/ 1869470 w 7513320"/>
                <a:gd name="connsiteY50" fmla="*/ 1111435 h 6467475"/>
                <a:gd name="connsiteX51" fmla="*/ 1872331 w 7513320"/>
                <a:gd name="connsiteY51" fmla="*/ 1108553 h 6467475"/>
                <a:gd name="connsiteX52" fmla="*/ 1880983 w 7513320"/>
                <a:gd name="connsiteY52" fmla="*/ 539835 h 6467475"/>
                <a:gd name="connsiteX53" fmla="*/ 2129267 w 7513320"/>
                <a:gd name="connsiteY53" fmla="*/ 661076 h 6467475"/>
                <a:gd name="connsiteX54" fmla="*/ 2816339 w 7513320"/>
                <a:gd name="connsiteY54" fmla="*/ 202080 h 6467475"/>
                <a:gd name="connsiteX55" fmla="*/ 2995330 w 7513320"/>
                <a:gd name="connsiteY55" fmla="*/ 513856 h 6467475"/>
                <a:gd name="connsiteX56" fmla="*/ 3356207 w 7513320"/>
                <a:gd name="connsiteY56" fmla="*/ 0 h 646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513320" h="6467475">
                  <a:moveTo>
                    <a:pt x="3356207" y="0"/>
                  </a:moveTo>
                  <a:cubicBezTo>
                    <a:pt x="3448599" y="51960"/>
                    <a:pt x="3514996" y="141439"/>
                    <a:pt x="3500550" y="308878"/>
                  </a:cubicBezTo>
                  <a:lnTo>
                    <a:pt x="3503411" y="308878"/>
                  </a:lnTo>
                  <a:lnTo>
                    <a:pt x="3630449" y="51960"/>
                  </a:lnTo>
                  <a:cubicBezTo>
                    <a:pt x="3737250" y="141439"/>
                    <a:pt x="3757450" y="291557"/>
                    <a:pt x="3722804" y="427239"/>
                  </a:cubicBezTo>
                  <a:cubicBezTo>
                    <a:pt x="3714151" y="461878"/>
                    <a:pt x="3702639" y="487877"/>
                    <a:pt x="3702639" y="508078"/>
                  </a:cubicBezTo>
                  <a:cubicBezTo>
                    <a:pt x="3702639" y="609117"/>
                    <a:pt x="4005735" y="684177"/>
                    <a:pt x="4005735" y="909355"/>
                  </a:cubicBezTo>
                  <a:cubicBezTo>
                    <a:pt x="4005735" y="946876"/>
                    <a:pt x="3994187" y="987293"/>
                    <a:pt x="3976881" y="1033497"/>
                  </a:cubicBezTo>
                  <a:lnTo>
                    <a:pt x="4669710" y="1908211"/>
                  </a:lnTo>
                  <a:cubicBezTo>
                    <a:pt x="4713009" y="1963049"/>
                    <a:pt x="4727453" y="2020789"/>
                    <a:pt x="4727453" y="2069870"/>
                  </a:cubicBezTo>
                  <a:cubicBezTo>
                    <a:pt x="4727453" y="2251749"/>
                    <a:pt x="4568701" y="2445168"/>
                    <a:pt x="4340619" y="2445168"/>
                  </a:cubicBezTo>
                  <a:cubicBezTo>
                    <a:pt x="4115432" y="2445168"/>
                    <a:pt x="4034589" y="2321026"/>
                    <a:pt x="4023076" y="2263290"/>
                  </a:cubicBezTo>
                  <a:lnTo>
                    <a:pt x="3419708" y="1968830"/>
                  </a:lnTo>
                  <a:cubicBezTo>
                    <a:pt x="3385061" y="2026571"/>
                    <a:pt x="3344658" y="2121828"/>
                    <a:pt x="3344658" y="2228650"/>
                  </a:cubicBezTo>
                  <a:cubicBezTo>
                    <a:pt x="3344658" y="2892626"/>
                    <a:pt x="4282874" y="2909946"/>
                    <a:pt x="4510957" y="3778864"/>
                  </a:cubicBezTo>
                  <a:lnTo>
                    <a:pt x="5440518" y="3470003"/>
                  </a:lnTo>
                  <a:cubicBezTo>
                    <a:pt x="6104493" y="4116640"/>
                    <a:pt x="6806010" y="4743103"/>
                    <a:pt x="7239040" y="5000039"/>
                  </a:cubicBezTo>
                  <a:lnTo>
                    <a:pt x="7513320" y="5349328"/>
                  </a:lnTo>
                  <a:lnTo>
                    <a:pt x="6681904" y="5349328"/>
                  </a:lnTo>
                  <a:lnTo>
                    <a:pt x="6681904" y="5106838"/>
                  </a:lnTo>
                  <a:lnTo>
                    <a:pt x="6453821" y="5043337"/>
                  </a:lnTo>
                  <a:cubicBezTo>
                    <a:pt x="6104493" y="4494821"/>
                    <a:pt x="5631059" y="4194587"/>
                    <a:pt x="5377018" y="4119538"/>
                  </a:cubicBezTo>
                  <a:cubicBezTo>
                    <a:pt x="5068092" y="4307180"/>
                    <a:pt x="4837151" y="4503510"/>
                    <a:pt x="4565805" y="4806603"/>
                  </a:cubicBezTo>
                  <a:cubicBezTo>
                    <a:pt x="5007489" y="4771994"/>
                    <a:pt x="5501161" y="4815293"/>
                    <a:pt x="5913954" y="4893203"/>
                  </a:cubicBezTo>
                  <a:lnTo>
                    <a:pt x="5730344" y="6467475"/>
                  </a:lnTo>
                  <a:lnTo>
                    <a:pt x="5262683" y="6467475"/>
                  </a:lnTo>
                  <a:lnTo>
                    <a:pt x="5304313" y="6349352"/>
                  </a:lnTo>
                  <a:cubicBezTo>
                    <a:pt x="5446611" y="5913458"/>
                    <a:pt x="5466514" y="5613476"/>
                    <a:pt x="5466514" y="5441718"/>
                  </a:cubicBezTo>
                  <a:cubicBezTo>
                    <a:pt x="5466514" y="5381078"/>
                    <a:pt x="5463617" y="5323370"/>
                    <a:pt x="5443416" y="5303168"/>
                  </a:cubicBezTo>
                  <a:cubicBezTo>
                    <a:pt x="5426074" y="5285827"/>
                    <a:pt x="5353921" y="5303168"/>
                    <a:pt x="5290420" y="5320474"/>
                  </a:cubicBezTo>
                  <a:cubicBezTo>
                    <a:pt x="5122978" y="5366669"/>
                    <a:pt x="4848699" y="5496566"/>
                    <a:pt x="4496511" y="5782355"/>
                  </a:cubicBezTo>
                  <a:cubicBezTo>
                    <a:pt x="4178969" y="6042186"/>
                    <a:pt x="4005735" y="6160535"/>
                    <a:pt x="3575601" y="6111479"/>
                  </a:cubicBezTo>
                  <a:cubicBezTo>
                    <a:pt x="3454346" y="6237059"/>
                    <a:pt x="3299173" y="6346400"/>
                    <a:pt x="3120545" y="6439592"/>
                  </a:cubicBezTo>
                  <a:lnTo>
                    <a:pt x="3058479" y="6467475"/>
                  </a:lnTo>
                  <a:lnTo>
                    <a:pt x="0" y="6467475"/>
                  </a:lnTo>
                  <a:lnTo>
                    <a:pt x="0" y="4754244"/>
                  </a:lnTo>
                  <a:lnTo>
                    <a:pt x="85493" y="4746935"/>
                  </a:lnTo>
                  <a:cubicBezTo>
                    <a:pt x="583882" y="4715120"/>
                    <a:pt x="1115965" y="4730821"/>
                    <a:pt x="1548996" y="4546809"/>
                  </a:cubicBezTo>
                  <a:cubicBezTo>
                    <a:pt x="1805933" y="4437113"/>
                    <a:pt x="2019570" y="4243679"/>
                    <a:pt x="2019570" y="4021390"/>
                  </a:cubicBezTo>
                  <a:cubicBezTo>
                    <a:pt x="2019570" y="3914591"/>
                    <a:pt x="1958929" y="3851053"/>
                    <a:pt x="1872331" y="3851053"/>
                  </a:cubicBezTo>
                  <a:cubicBezTo>
                    <a:pt x="1829032" y="3851053"/>
                    <a:pt x="1762636" y="3871254"/>
                    <a:pt x="1725091" y="3966542"/>
                  </a:cubicBezTo>
                  <a:cubicBezTo>
                    <a:pt x="1612534" y="3868396"/>
                    <a:pt x="1577887" y="3764456"/>
                    <a:pt x="1577887" y="3660519"/>
                  </a:cubicBezTo>
                  <a:cubicBezTo>
                    <a:pt x="1577887" y="3487323"/>
                    <a:pt x="1632698" y="3406481"/>
                    <a:pt x="1693340" y="3322762"/>
                  </a:cubicBezTo>
                  <a:cubicBezTo>
                    <a:pt x="1635633" y="3172644"/>
                    <a:pt x="1456604" y="3138001"/>
                    <a:pt x="1335358" y="3285243"/>
                  </a:cubicBezTo>
                  <a:cubicBezTo>
                    <a:pt x="1185258" y="3008104"/>
                    <a:pt x="1277652" y="2627025"/>
                    <a:pt x="1667382" y="2511568"/>
                  </a:cubicBezTo>
                  <a:lnTo>
                    <a:pt x="1667382" y="2508664"/>
                  </a:lnTo>
                  <a:cubicBezTo>
                    <a:pt x="1211254" y="2433608"/>
                    <a:pt x="1090008" y="2150708"/>
                    <a:pt x="1141959" y="1836028"/>
                  </a:cubicBezTo>
                  <a:cubicBezTo>
                    <a:pt x="1185258" y="1873568"/>
                    <a:pt x="1234351" y="1896648"/>
                    <a:pt x="1283406" y="1896648"/>
                  </a:cubicBezTo>
                  <a:cubicBezTo>
                    <a:pt x="1358494" y="1896648"/>
                    <a:pt x="1404653" y="1836028"/>
                    <a:pt x="1404653" y="1749431"/>
                  </a:cubicBezTo>
                  <a:cubicBezTo>
                    <a:pt x="1404653" y="1657050"/>
                    <a:pt x="1358494" y="1512712"/>
                    <a:pt x="1121760" y="1353932"/>
                  </a:cubicBezTo>
                  <a:cubicBezTo>
                    <a:pt x="1329603" y="1042152"/>
                    <a:pt x="1687584" y="995953"/>
                    <a:pt x="1869470" y="1111435"/>
                  </a:cubicBezTo>
                  <a:lnTo>
                    <a:pt x="1872331" y="1108553"/>
                  </a:lnTo>
                  <a:cubicBezTo>
                    <a:pt x="1779939" y="981516"/>
                    <a:pt x="1733743" y="759234"/>
                    <a:pt x="1880983" y="539835"/>
                  </a:cubicBezTo>
                  <a:cubicBezTo>
                    <a:pt x="1915630" y="588915"/>
                    <a:pt x="1999369" y="661076"/>
                    <a:pt x="2129267" y="661076"/>
                  </a:cubicBezTo>
                  <a:cubicBezTo>
                    <a:pt x="2510347" y="661076"/>
                    <a:pt x="2524793" y="242478"/>
                    <a:pt x="2816339" y="202080"/>
                  </a:cubicBezTo>
                  <a:cubicBezTo>
                    <a:pt x="2799033" y="331978"/>
                    <a:pt x="2833644" y="513856"/>
                    <a:pt x="2995330" y="513856"/>
                  </a:cubicBezTo>
                  <a:cubicBezTo>
                    <a:pt x="3206070" y="513856"/>
                    <a:pt x="3304218" y="196298"/>
                    <a:pt x="3356207" y="0"/>
                  </a:cubicBezTo>
                  <a:close/>
                </a:path>
              </a:pathLst>
            </a:custGeom>
            <a:solidFill>
              <a:srgbClr val="000000"/>
            </a:solidFill>
            <a:ln w="0" cap="flat">
              <a:noFill/>
              <a:prstDash val="solid"/>
              <a:miter/>
            </a:ln>
          </p:spPr>
          <p:txBody>
            <a:bodyPr wrap="square" rtlCol="0" anchor="ctr">
              <a:noAutofit/>
            </a:bodyPr>
            <a:lstStyle/>
            <a:p>
              <a:endParaRPr lang="en-GB"/>
            </a:p>
          </p:txBody>
        </p:sp>
        <p:sp>
          <p:nvSpPr>
            <p:cNvPr id="17" name="Freeform: Shape 16">
              <a:extLst>
                <a:ext uri="{FF2B5EF4-FFF2-40B4-BE49-F238E27FC236}">
                  <a16:creationId xmlns:a16="http://schemas.microsoft.com/office/drawing/2014/main" id="{350A941F-3CB2-9845-276F-C652DAB4BC91}"/>
                </a:ext>
              </a:extLst>
            </p:cNvPr>
            <p:cNvSpPr/>
            <p:nvPr/>
          </p:nvSpPr>
          <p:spPr>
            <a:xfrm>
              <a:off x="1" y="1008303"/>
              <a:ext cx="4545567" cy="5378213"/>
            </a:xfrm>
            <a:custGeom>
              <a:avLst/>
              <a:gdLst>
                <a:gd name="connsiteX0" fmla="*/ 2790343 w 4545567"/>
                <a:gd name="connsiteY0" fmla="*/ 207858 h 5378213"/>
                <a:gd name="connsiteX1" fmla="*/ 2189908 w 4545567"/>
                <a:gd name="connsiteY1" fmla="*/ 1454971 h 5378213"/>
                <a:gd name="connsiteX2" fmla="*/ 3035732 w 4545567"/>
                <a:gd name="connsiteY2" fmla="*/ 2725208 h 5378213"/>
                <a:gd name="connsiteX3" fmla="*/ 4112571 w 4545567"/>
                <a:gd name="connsiteY3" fmla="*/ 3296815 h 5378213"/>
                <a:gd name="connsiteX4" fmla="*/ 3592905 w 4545567"/>
                <a:gd name="connsiteY4" fmla="*/ 3123581 h 5378213"/>
                <a:gd name="connsiteX5" fmla="*/ 1199704 w 4545567"/>
                <a:gd name="connsiteY5" fmla="*/ 5378213 h 5378213"/>
                <a:gd name="connsiteX6" fmla="*/ 79571 w 4545567"/>
                <a:gd name="connsiteY6" fmla="*/ 4587208 h 5378213"/>
                <a:gd name="connsiteX7" fmla="*/ 0 w 4545567"/>
                <a:gd name="connsiteY7" fmla="*/ 4591624 h 5378213"/>
                <a:gd name="connsiteX8" fmla="*/ 0 w 4545567"/>
                <a:gd name="connsiteY8" fmla="*/ 4375064 h 5378213"/>
                <a:gd name="connsiteX9" fmla="*/ 81891 w 4545567"/>
                <a:gd name="connsiteY9" fmla="*/ 4367296 h 5378213"/>
                <a:gd name="connsiteX10" fmla="*/ 1808829 w 4545567"/>
                <a:gd name="connsiteY10" fmla="*/ 4073375 h 5378213"/>
                <a:gd name="connsiteX11" fmla="*/ 2394856 w 4545567"/>
                <a:gd name="connsiteY11" fmla="*/ 3357418 h 5378213"/>
                <a:gd name="connsiteX12" fmla="*/ 1906977 w 4545567"/>
                <a:gd name="connsiteY12" fmla="*/ 1732111 h 5378213"/>
                <a:gd name="connsiteX13" fmla="*/ 2790343 w 4545567"/>
                <a:gd name="connsiteY13" fmla="*/ 207858 h 5378213"/>
                <a:gd name="connsiteX14" fmla="*/ 3431257 w 4545567"/>
                <a:gd name="connsiteY14" fmla="*/ 0 h 5378213"/>
                <a:gd name="connsiteX15" fmla="*/ 3855635 w 4545567"/>
                <a:gd name="connsiteY15" fmla="*/ 314680 h 5378213"/>
                <a:gd name="connsiteX16" fmla="*/ 3803646 w 4545567"/>
                <a:gd name="connsiteY16" fmla="*/ 415719 h 5378213"/>
                <a:gd name="connsiteX17" fmla="*/ 4545567 w 4545567"/>
                <a:gd name="connsiteY17" fmla="*/ 1345271 h 5378213"/>
                <a:gd name="connsiteX18" fmla="*/ 4412771 w 4545567"/>
                <a:gd name="connsiteY18" fmla="*/ 1368373 h 5378213"/>
                <a:gd name="connsiteX19" fmla="*/ 4360820 w 4545567"/>
                <a:gd name="connsiteY19" fmla="*/ 1423231 h 5378213"/>
                <a:gd name="connsiteX20" fmla="*/ 4438766 w 4545567"/>
                <a:gd name="connsiteY20" fmla="*/ 1607992 h 5378213"/>
                <a:gd name="connsiteX21" fmla="*/ 4326173 w 4545567"/>
                <a:gd name="connsiteY21" fmla="*/ 1639730 h 5378213"/>
                <a:gd name="connsiteX22" fmla="*/ 4204927 w 4545567"/>
                <a:gd name="connsiteY22" fmla="*/ 1541594 h 5378213"/>
                <a:gd name="connsiteX23" fmla="*/ 4204927 w 4545567"/>
                <a:gd name="connsiteY23" fmla="*/ 1541591 h 5378213"/>
                <a:gd name="connsiteX24" fmla="*/ 4233817 w 4545567"/>
                <a:gd name="connsiteY24" fmla="*/ 1336612 h 5378213"/>
                <a:gd name="connsiteX25" fmla="*/ 4178969 w 4545567"/>
                <a:gd name="connsiteY25" fmla="*/ 1180735 h 5378213"/>
                <a:gd name="connsiteX26" fmla="*/ 3864288 w 4545567"/>
                <a:gd name="connsiteY26" fmla="*/ 773675 h 5378213"/>
                <a:gd name="connsiteX27" fmla="*/ 3341762 w 4545567"/>
                <a:gd name="connsiteY27" fmla="*/ 568717 h 5378213"/>
                <a:gd name="connsiteX28" fmla="*/ 3561155 w 4545567"/>
                <a:gd name="connsiteY28" fmla="*/ 274259 h 5378213"/>
                <a:gd name="connsiteX29" fmla="*/ 3431257 w 4545567"/>
                <a:gd name="connsiteY29" fmla="*/ 0 h 53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45567" h="5378213">
                  <a:moveTo>
                    <a:pt x="2790343" y="207858"/>
                  </a:moveTo>
                  <a:cubicBezTo>
                    <a:pt x="2383308" y="560059"/>
                    <a:pt x="2189908" y="964213"/>
                    <a:pt x="2189908" y="1454971"/>
                  </a:cubicBezTo>
                  <a:cubicBezTo>
                    <a:pt x="2189908" y="1948629"/>
                    <a:pt x="2383308" y="2468269"/>
                    <a:pt x="3035732" y="2725208"/>
                  </a:cubicBezTo>
                  <a:cubicBezTo>
                    <a:pt x="3497655" y="2907063"/>
                    <a:pt x="3927789" y="2912846"/>
                    <a:pt x="4112571" y="3296815"/>
                  </a:cubicBezTo>
                  <a:cubicBezTo>
                    <a:pt x="3947990" y="3166880"/>
                    <a:pt x="3740145" y="3123581"/>
                    <a:pt x="3592905" y="3123581"/>
                  </a:cubicBezTo>
                  <a:cubicBezTo>
                    <a:pt x="2654689" y="3123581"/>
                    <a:pt x="2299604" y="4878790"/>
                    <a:pt x="1199704" y="5378213"/>
                  </a:cubicBezTo>
                  <a:cubicBezTo>
                    <a:pt x="1433542" y="4769094"/>
                    <a:pt x="729129" y="4572799"/>
                    <a:pt x="79571" y="4587208"/>
                  </a:cubicBezTo>
                  <a:lnTo>
                    <a:pt x="0" y="4591624"/>
                  </a:lnTo>
                  <a:lnTo>
                    <a:pt x="0" y="4375064"/>
                  </a:lnTo>
                  <a:lnTo>
                    <a:pt x="81891" y="4367296"/>
                  </a:lnTo>
                  <a:cubicBezTo>
                    <a:pt x="611474" y="4328789"/>
                    <a:pt x="1263205" y="4343650"/>
                    <a:pt x="1808829" y="4073375"/>
                  </a:cubicBezTo>
                  <a:cubicBezTo>
                    <a:pt x="2100412" y="3929032"/>
                    <a:pt x="2394856" y="3686506"/>
                    <a:pt x="2394856" y="3357418"/>
                  </a:cubicBezTo>
                  <a:cubicBezTo>
                    <a:pt x="2394856" y="2961927"/>
                    <a:pt x="1906977" y="2572186"/>
                    <a:pt x="1906977" y="1732111"/>
                  </a:cubicBezTo>
                  <a:cubicBezTo>
                    <a:pt x="1906977" y="1183612"/>
                    <a:pt x="2149469" y="551399"/>
                    <a:pt x="2790343" y="207858"/>
                  </a:cubicBezTo>
                  <a:close/>
                  <a:moveTo>
                    <a:pt x="3431257" y="0"/>
                  </a:moveTo>
                  <a:cubicBezTo>
                    <a:pt x="3546710" y="20201"/>
                    <a:pt x="3855635" y="147239"/>
                    <a:pt x="3855635" y="314680"/>
                  </a:cubicBezTo>
                  <a:cubicBezTo>
                    <a:pt x="3855635" y="349318"/>
                    <a:pt x="3838294" y="381058"/>
                    <a:pt x="3803646" y="415719"/>
                  </a:cubicBezTo>
                  <a:lnTo>
                    <a:pt x="4545567" y="1345271"/>
                  </a:lnTo>
                  <a:cubicBezTo>
                    <a:pt x="4519608" y="1385693"/>
                    <a:pt x="4461863" y="1368373"/>
                    <a:pt x="4412771" y="1368373"/>
                  </a:cubicBezTo>
                  <a:cubicBezTo>
                    <a:pt x="4381059" y="1368373"/>
                    <a:pt x="4360820" y="1388574"/>
                    <a:pt x="4360820" y="1423231"/>
                  </a:cubicBezTo>
                  <a:cubicBezTo>
                    <a:pt x="4360820" y="1486732"/>
                    <a:pt x="4409911" y="1564671"/>
                    <a:pt x="4438766" y="1607992"/>
                  </a:cubicBezTo>
                  <a:cubicBezTo>
                    <a:pt x="4415668" y="1622410"/>
                    <a:pt x="4372369" y="1639730"/>
                    <a:pt x="4326173" y="1639730"/>
                  </a:cubicBezTo>
                  <a:cubicBezTo>
                    <a:pt x="4268428" y="1639730"/>
                    <a:pt x="4204927" y="1619534"/>
                    <a:pt x="4204927" y="1541594"/>
                  </a:cubicBezTo>
                  <a:lnTo>
                    <a:pt x="4204927" y="1541591"/>
                  </a:lnTo>
                  <a:cubicBezTo>
                    <a:pt x="4204927" y="1492513"/>
                    <a:pt x="4233817" y="1408794"/>
                    <a:pt x="4233817" y="1336612"/>
                  </a:cubicBezTo>
                  <a:cubicBezTo>
                    <a:pt x="4233817" y="1299094"/>
                    <a:pt x="4225129" y="1252894"/>
                    <a:pt x="4178969" y="1180735"/>
                  </a:cubicBezTo>
                  <a:cubicBezTo>
                    <a:pt x="4112571" y="1079695"/>
                    <a:pt x="3985533" y="903595"/>
                    <a:pt x="3864288" y="773675"/>
                  </a:cubicBezTo>
                  <a:cubicBezTo>
                    <a:pt x="3702638" y="603357"/>
                    <a:pt x="3561155" y="554276"/>
                    <a:pt x="3341762" y="568717"/>
                  </a:cubicBezTo>
                  <a:cubicBezTo>
                    <a:pt x="3520752" y="470557"/>
                    <a:pt x="3561155" y="378181"/>
                    <a:pt x="3561155" y="274259"/>
                  </a:cubicBezTo>
                  <a:cubicBezTo>
                    <a:pt x="3561155" y="184760"/>
                    <a:pt x="3512099" y="89498"/>
                    <a:pt x="3431257" y="0"/>
                  </a:cubicBezTo>
                  <a:close/>
                </a:path>
              </a:pathLst>
            </a:custGeom>
            <a:solidFill>
              <a:srgbClr val="0BE248"/>
            </a:solidFill>
            <a:ln w="0" cap="flat">
              <a:noFill/>
              <a:prstDash val="solid"/>
              <a:miter/>
            </a:ln>
          </p:spPr>
          <p:txBody>
            <a:bodyPr wrap="square" rtlCol="0" anchor="ctr">
              <a:noAutofit/>
            </a:bodyPr>
            <a:lstStyle/>
            <a:p>
              <a:endParaRPr lang="en-GB"/>
            </a:p>
          </p:txBody>
        </p:sp>
      </p:grpSp>
      <p:sp>
        <p:nvSpPr>
          <p:cNvPr id="11" name="Title 14">
            <a:extLst>
              <a:ext uri="{FF2B5EF4-FFF2-40B4-BE49-F238E27FC236}">
                <a16:creationId xmlns:a16="http://schemas.microsoft.com/office/drawing/2014/main" id="{F400E925-2042-8E3A-2316-DFB79E788CA6}"/>
              </a:ext>
            </a:extLst>
          </p:cNvPr>
          <p:cNvSpPr>
            <a:spLocks noGrp="1"/>
          </p:cNvSpPr>
          <p:nvPr userDrawn="1">
            <p:ph type="title" hasCustomPrompt="1"/>
          </p:nvPr>
        </p:nvSpPr>
        <p:spPr>
          <a:xfrm>
            <a:off x="6657174" y="390525"/>
            <a:ext cx="5136363" cy="3658504"/>
          </a:xfrm>
          <a:prstGeom prst="rect">
            <a:avLst/>
          </a:prstGeom>
        </p:spPr>
        <p:txBody>
          <a:bodyPr vert="horz" anchor="b"/>
          <a:lstStyle>
            <a:lvl1pPr algn="ctr">
              <a:lnSpc>
                <a:spcPct val="85000"/>
              </a:lnSpc>
              <a:defRPr sz="5400" spc="-20" baseline="0">
                <a:solidFill>
                  <a:schemeClr val="tx1"/>
                </a:solidFill>
                <a:latin typeface="GT Ultra Median Lloyds Black" panose="020B0604020202020204" charset="0"/>
              </a:defRPr>
            </a:lvl1pPr>
          </a:lstStyle>
          <a:p>
            <a:r>
              <a:rPr lang="en-US"/>
              <a:t>Click to edit Master</a:t>
            </a:r>
            <a:br>
              <a:rPr lang="en-US"/>
            </a:br>
            <a:r>
              <a:rPr lang="en-US"/>
              <a:t>title style</a:t>
            </a:r>
            <a:endParaRPr lang="en-GB"/>
          </a:p>
        </p:txBody>
      </p:sp>
      <p:sp>
        <p:nvSpPr>
          <p:cNvPr id="13" name="Text Placeholder 3">
            <a:extLst>
              <a:ext uri="{FF2B5EF4-FFF2-40B4-BE49-F238E27FC236}">
                <a16:creationId xmlns:a16="http://schemas.microsoft.com/office/drawing/2014/main" id="{901B5DBF-BA3F-6D66-3C08-561D8FC52AA4}"/>
              </a:ext>
            </a:extLst>
          </p:cNvPr>
          <p:cNvSpPr>
            <a:spLocks noGrp="1"/>
          </p:cNvSpPr>
          <p:nvPr userDrawn="1">
            <p:ph type="body" sz="quarter" idx="14"/>
          </p:nvPr>
        </p:nvSpPr>
        <p:spPr>
          <a:xfrm>
            <a:off x="6657174" y="4200042"/>
            <a:ext cx="5136363" cy="1052678"/>
          </a:xfrm>
        </p:spPr>
        <p:txBody>
          <a:bodyPr anchor="t"/>
          <a:lstStyle>
            <a:lvl1pPr algn="ctr">
              <a:defRPr b="0">
                <a:solidFill>
                  <a:schemeClr val="tx1"/>
                </a:solidFill>
              </a:defRPr>
            </a:lvl1pPr>
          </a:lstStyle>
          <a:p>
            <a:pPr lvl="0"/>
            <a:r>
              <a:rPr lang="en-US"/>
              <a:t>Click to edit Master text styles</a:t>
            </a:r>
          </a:p>
        </p:txBody>
      </p:sp>
      <p:sp>
        <p:nvSpPr>
          <p:cNvPr id="5" name="Date Placeholder 4">
            <a:extLst>
              <a:ext uri="{FF2B5EF4-FFF2-40B4-BE49-F238E27FC236}">
                <a16:creationId xmlns:a16="http://schemas.microsoft.com/office/drawing/2014/main" id="{6DFA192E-ABFE-A978-9251-5CD4A69DE36B}"/>
              </a:ext>
            </a:extLst>
          </p:cNvPr>
          <p:cNvSpPr>
            <a:spLocks noGrp="1"/>
          </p:cNvSpPr>
          <p:nvPr userDrawn="1">
            <p:ph type="dt" sz="half" idx="12"/>
          </p:nvPr>
        </p:nvSpPr>
        <p:spPr/>
        <p:txBody>
          <a:bodyPr/>
          <a:lstStyle>
            <a:lvl1pPr>
              <a:defRPr>
                <a:solidFill>
                  <a:schemeClr val="bg1"/>
                </a:solidFill>
              </a:defRPr>
            </a:lvl1pPr>
          </a:lstStyle>
          <a:p>
            <a:fld id="{05DD9C60-D469-4350-803A-1E387B16F391}" type="datetime3">
              <a:rPr lang="en-GB" smtClean="0"/>
              <a:t>5 December, 2025</a:t>
            </a:fld>
            <a:endParaRPr lang="en-GB"/>
          </a:p>
        </p:txBody>
      </p:sp>
      <p:sp>
        <p:nvSpPr>
          <p:cNvPr id="3" name="Footer Placeholder 2">
            <a:extLst>
              <a:ext uri="{FF2B5EF4-FFF2-40B4-BE49-F238E27FC236}">
                <a16:creationId xmlns:a16="http://schemas.microsoft.com/office/drawing/2014/main" id="{A45A197F-EA2B-441C-7DC0-C0FC1CEB26BC}"/>
              </a:ext>
            </a:extLst>
          </p:cNvPr>
          <p:cNvSpPr>
            <a:spLocks noGrp="1"/>
          </p:cNvSpPr>
          <p:nvPr userDrawn="1">
            <p:ph type="ftr" sz="quarter" idx="10"/>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964D13AF-67CE-227C-3A23-330938B0A057}"/>
              </a:ext>
            </a:extLst>
          </p:cNvPr>
          <p:cNvSpPr>
            <a:spLocks noGrp="1"/>
          </p:cNvSpPr>
          <p:nvPr userDrawn="1">
            <p:ph type="sldNum" sz="quarter" idx="11"/>
          </p:nvPr>
        </p:nvSpPr>
        <p:spPr/>
        <p:txBody>
          <a:bodyPr/>
          <a:lstStyle>
            <a:lvl1pPr>
              <a:defRPr>
                <a:solidFill>
                  <a:schemeClr val="tx1"/>
                </a:solidFill>
              </a:defRPr>
            </a:lvl1pPr>
          </a:lstStyle>
          <a:p>
            <a:fld id="{D05BFB15-FC18-4DE5-A1D6-75E08CC6C47C}" type="slidenum">
              <a:rPr lang="en-GB" smtClean="0"/>
              <a:pPr/>
              <a:t>‹#›</a:t>
            </a:fld>
            <a:endParaRPr lang="en-GB"/>
          </a:p>
        </p:txBody>
      </p:sp>
      <p:sp>
        <p:nvSpPr>
          <p:cNvPr id="9" name="Rectangle 8">
            <a:extLst>
              <a:ext uri="{FF2B5EF4-FFF2-40B4-BE49-F238E27FC236}">
                <a16:creationId xmlns:a16="http://schemas.microsoft.com/office/drawing/2014/main" id="{5602AB8D-C6B2-371D-5D84-79B6B57217E7}"/>
              </a:ext>
            </a:extLst>
          </p:cNvPr>
          <p:cNvSpPr/>
          <p:nvPr userDrawn="1"/>
        </p:nvSpPr>
        <p:spPr>
          <a:xfrm>
            <a:off x="0" y="6959600"/>
            <a:ext cx="11300460" cy="29433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tIns="36000" rtlCol="0" anchor="ctr"/>
          <a:lstStyle/>
          <a:p>
            <a:pPr algn="l"/>
            <a:r>
              <a:rPr lang="en-GB" sz="1050"/>
              <a:t>The background colour can be changed by using the “Format Background” option, please keep to light colours for maximum accessibility like White, Calm Green and Light Grey.</a:t>
            </a:r>
          </a:p>
        </p:txBody>
      </p:sp>
    </p:spTree>
    <p:extLst>
      <p:ext uri="{BB962C8B-B14F-4D97-AF65-F5344CB8AC3E}">
        <p14:creationId xmlns:p14="http://schemas.microsoft.com/office/powerpoint/2010/main" val="420762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ED03446-8F6A-7612-3970-23FAD981EB79}"/>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1141095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84118079-9E77-74CB-D481-BF6575CFDACE}"/>
              </a:ext>
            </a:extLst>
          </p:cNvPr>
          <p:cNvSpPr>
            <a:spLocks noGrp="1"/>
          </p:cNvSpPr>
          <p:nvPr>
            <p:ph type="body" sz="quarter" idx="14"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302D8425-4089-4CBB-BCA2-2DB3E621226E}"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61828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wo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68763-CAF6-67A6-A93A-001D0189162A}"/>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5626099"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6167437" y="1592263"/>
            <a:ext cx="5626099"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3A69233C-3EE6-3DBC-019C-590F85BDAFB4}"/>
              </a:ext>
            </a:extLst>
          </p:cNvPr>
          <p:cNvSpPr>
            <a:spLocks noGrp="1"/>
          </p:cNvSpPr>
          <p:nvPr>
            <p:ph type="body" sz="quarter" idx="15"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0BB07D7-EC64-4920-9022-AC126F2F3E4D}"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52450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1035332-A892-6C43-D4AF-7D1DAC470D84}"/>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7" y="1592263"/>
            <a:ext cx="5626099" cy="44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24">
            <a:extLst>
              <a:ext uri="{FF2B5EF4-FFF2-40B4-BE49-F238E27FC236}">
                <a16:creationId xmlns:a16="http://schemas.microsoft.com/office/drawing/2014/main" id="{AC78F3F4-B20A-CE6E-835D-B30223588AAB}"/>
              </a:ext>
            </a:extLst>
          </p:cNvPr>
          <p:cNvSpPr>
            <a:spLocks noGrp="1"/>
          </p:cNvSpPr>
          <p:nvPr>
            <p:ph type="pic" sz="quarter" idx="17"/>
          </p:nvPr>
        </p:nvSpPr>
        <p:spPr>
          <a:xfrm flipH="1">
            <a:off x="6167436" y="1592263"/>
            <a:ext cx="5626102" cy="4500561"/>
          </a:xfrm>
          <a:custGeom>
            <a:avLst/>
            <a:gdLst>
              <a:gd name="connsiteX0" fmla="*/ 5515844 w 5626102"/>
              <a:gd name="connsiteY0" fmla="*/ 0 h 4500561"/>
              <a:gd name="connsiteX1" fmla="*/ 3777299 w 5626102"/>
              <a:gd name="connsiteY1" fmla="*/ 0 h 4500561"/>
              <a:gd name="connsiteX2" fmla="*/ 1848803 w 5626102"/>
              <a:gd name="connsiteY2" fmla="*/ 0 h 4500561"/>
              <a:gd name="connsiteX3" fmla="*/ 110258 w 5626102"/>
              <a:gd name="connsiteY3" fmla="*/ 0 h 4500561"/>
              <a:gd name="connsiteX4" fmla="*/ 0 w 5626102"/>
              <a:gd name="connsiteY4" fmla="*/ 110258 h 4500561"/>
              <a:gd name="connsiteX5" fmla="*/ 0 w 5626102"/>
              <a:gd name="connsiteY5" fmla="*/ 120245 h 4500561"/>
              <a:gd name="connsiteX6" fmla="*/ 0 w 5626102"/>
              <a:gd name="connsiteY6" fmla="*/ 193039 h 4500561"/>
              <a:gd name="connsiteX7" fmla="*/ 0 w 5626102"/>
              <a:gd name="connsiteY7" fmla="*/ 1655196 h 4500561"/>
              <a:gd name="connsiteX8" fmla="*/ 0 w 5626102"/>
              <a:gd name="connsiteY8" fmla="*/ 2845365 h 4500561"/>
              <a:gd name="connsiteX9" fmla="*/ 0 w 5626102"/>
              <a:gd name="connsiteY9" fmla="*/ 2918159 h 4500561"/>
              <a:gd name="connsiteX10" fmla="*/ 0 w 5626102"/>
              <a:gd name="connsiteY10" fmla="*/ 2928146 h 4500561"/>
              <a:gd name="connsiteX11" fmla="*/ 0 w 5626102"/>
              <a:gd name="connsiteY11" fmla="*/ 4380316 h 4500561"/>
              <a:gd name="connsiteX12" fmla="*/ 0 w 5626102"/>
              <a:gd name="connsiteY12" fmla="*/ 4390303 h 4500561"/>
              <a:gd name="connsiteX13" fmla="*/ 110258 w 5626102"/>
              <a:gd name="connsiteY13" fmla="*/ 4500561 h 4500561"/>
              <a:gd name="connsiteX14" fmla="*/ 1848803 w 5626102"/>
              <a:gd name="connsiteY14" fmla="*/ 4500561 h 4500561"/>
              <a:gd name="connsiteX15" fmla="*/ 3777299 w 5626102"/>
              <a:gd name="connsiteY15" fmla="*/ 4500561 h 4500561"/>
              <a:gd name="connsiteX16" fmla="*/ 5515844 w 5626102"/>
              <a:gd name="connsiteY16" fmla="*/ 4500561 h 4500561"/>
              <a:gd name="connsiteX17" fmla="*/ 5626102 w 5626102"/>
              <a:gd name="connsiteY17" fmla="*/ 4390303 h 4500561"/>
              <a:gd name="connsiteX18" fmla="*/ 5626102 w 5626102"/>
              <a:gd name="connsiteY18" fmla="*/ 4380316 h 4500561"/>
              <a:gd name="connsiteX19" fmla="*/ 5626102 w 5626102"/>
              <a:gd name="connsiteY19" fmla="*/ 2928146 h 4500561"/>
              <a:gd name="connsiteX20" fmla="*/ 5626102 w 5626102"/>
              <a:gd name="connsiteY20" fmla="*/ 2918159 h 4500561"/>
              <a:gd name="connsiteX21" fmla="*/ 5626102 w 5626102"/>
              <a:gd name="connsiteY21" fmla="*/ 2845365 h 4500561"/>
              <a:gd name="connsiteX22" fmla="*/ 5626102 w 5626102"/>
              <a:gd name="connsiteY22" fmla="*/ 1655196 h 4500561"/>
              <a:gd name="connsiteX23" fmla="*/ 5626102 w 5626102"/>
              <a:gd name="connsiteY23" fmla="*/ 193039 h 4500561"/>
              <a:gd name="connsiteX24" fmla="*/ 5626102 w 5626102"/>
              <a:gd name="connsiteY24" fmla="*/ 120245 h 4500561"/>
              <a:gd name="connsiteX25" fmla="*/ 5626102 w 5626102"/>
              <a:gd name="connsiteY25" fmla="*/ 110258 h 4500561"/>
              <a:gd name="connsiteX26" fmla="*/ 5515844 w 5626102"/>
              <a:gd name="connsiteY26" fmla="*/ 0 h 450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26102" h="4500561">
                <a:moveTo>
                  <a:pt x="5515844" y="0"/>
                </a:moveTo>
                <a:lnTo>
                  <a:pt x="3777299" y="0"/>
                </a:lnTo>
                <a:lnTo>
                  <a:pt x="1848803" y="0"/>
                </a:lnTo>
                <a:lnTo>
                  <a:pt x="110258" y="0"/>
                </a:lnTo>
                <a:cubicBezTo>
                  <a:pt x="49364" y="0"/>
                  <a:pt x="0" y="49364"/>
                  <a:pt x="0" y="110258"/>
                </a:cubicBezTo>
                <a:lnTo>
                  <a:pt x="0" y="120245"/>
                </a:lnTo>
                <a:lnTo>
                  <a:pt x="0" y="193039"/>
                </a:lnTo>
                <a:lnTo>
                  <a:pt x="0" y="1655196"/>
                </a:lnTo>
                <a:lnTo>
                  <a:pt x="0" y="2845365"/>
                </a:lnTo>
                <a:lnTo>
                  <a:pt x="0" y="2918159"/>
                </a:lnTo>
                <a:lnTo>
                  <a:pt x="0" y="2928146"/>
                </a:lnTo>
                <a:lnTo>
                  <a:pt x="0" y="4380316"/>
                </a:lnTo>
                <a:lnTo>
                  <a:pt x="0" y="4390303"/>
                </a:lnTo>
                <a:cubicBezTo>
                  <a:pt x="0" y="4451197"/>
                  <a:pt x="49364" y="4500561"/>
                  <a:pt x="110258" y="4500561"/>
                </a:cubicBezTo>
                <a:lnTo>
                  <a:pt x="1848803" y="4500561"/>
                </a:lnTo>
                <a:lnTo>
                  <a:pt x="3777299" y="4500561"/>
                </a:lnTo>
                <a:lnTo>
                  <a:pt x="5515844" y="4500561"/>
                </a:lnTo>
                <a:cubicBezTo>
                  <a:pt x="5576738" y="4500561"/>
                  <a:pt x="5626102" y="4451197"/>
                  <a:pt x="5626102" y="4390303"/>
                </a:cubicBezTo>
                <a:lnTo>
                  <a:pt x="5626102" y="4380316"/>
                </a:lnTo>
                <a:lnTo>
                  <a:pt x="5626102" y="2928146"/>
                </a:lnTo>
                <a:lnTo>
                  <a:pt x="5626102" y="2918159"/>
                </a:lnTo>
                <a:lnTo>
                  <a:pt x="5626102" y="2845365"/>
                </a:lnTo>
                <a:lnTo>
                  <a:pt x="5626102" y="1655196"/>
                </a:lnTo>
                <a:lnTo>
                  <a:pt x="5626102" y="193039"/>
                </a:lnTo>
                <a:lnTo>
                  <a:pt x="5626102" y="120245"/>
                </a:lnTo>
                <a:lnTo>
                  <a:pt x="5626102" y="110258"/>
                </a:lnTo>
                <a:cubicBezTo>
                  <a:pt x="5626102" y="49364"/>
                  <a:pt x="5576738" y="0"/>
                  <a:pt x="5515844" y="0"/>
                </a:cubicBezTo>
                <a:close/>
              </a:path>
            </a:pathLst>
          </a:custGeom>
        </p:spPr>
        <p:txBody>
          <a:bodyPr wrap="square">
            <a:noAutofit/>
          </a:bodyPr>
          <a:lstStyle/>
          <a:p>
            <a:r>
              <a:rPr lang="en-US"/>
              <a:t>Click icon to add picture</a:t>
            </a:r>
            <a:endParaRPr lang="en-GB"/>
          </a:p>
        </p:txBody>
      </p:sp>
      <p:sp>
        <p:nvSpPr>
          <p:cNvPr id="8" name="Text Placeholder 9">
            <a:extLst>
              <a:ext uri="{FF2B5EF4-FFF2-40B4-BE49-F238E27FC236}">
                <a16:creationId xmlns:a16="http://schemas.microsoft.com/office/drawing/2014/main" id="{3F3B300D-949B-4085-6D1E-DE68FA9577EE}"/>
              </a:ext>
            </a:extLst>
          </p:cNvPr>
          <p:cNvSpPr>
            <a:spLocks noGrp="1"/>
          </p:cNvSpPr>
          <p:nvPr>
            <p:ph type="body" sz="quarter" idx="14" hasCustomPrompt="1"/>
          </p:nvPr>
        </p:nvSpPr>
        <p:spPr>
          <a:xfrm>
            <a:off x="382587" y="6135468"/>
            <a:ext cx="11410950"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23318A6D-BBB1-467F-BA16-31BE8E699438}"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406460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ntent (Coloured panel)">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CF0A00D5-5E7A-6422-4BFB-E6E228397265}"/>
              </a:ext>
            </a:extLst>
          </p:cNvPr>
          <p:cNvSpPr>
            <a:spLocks noGrp="1"/>
          </p:cNvSpPr>
          <p:nvPr>
            <p:ph type="title"/>
          </p:nvPr>
        </p:nvSpPr>
        <p:spPr>
          <a:xfrm>
            <a:off x="382588" y="403225"/>
            <a:ext cx="5402263"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2263"/>
            <a:ext cx="5402263"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6">
            <a:extLst>
              <a:ext uri="{FF2B5EF4-FFF2-40B4-BE49-F238E27FC236}">
                <a16:creationId xmlns:a16="http://schemas.microsoft.com/office/drawing/2014/main" id="{FE9EAA78-BFC8-349D-7E65-398EEBA324A8}"/>
              </a:ext>
            </a:extLst>
          </p:cNvPr>
          <p:cNvSpPr>
            <a:spLocks noGrp="1"/>
          </p:cNvSpPr>
          <p:nvPr>
            <p:ph sz="quarter" idx="15"/>
          </p:nvPr>
        </p:nvSpPr>
        <p:spPr>
          <a:xfrm>
            <a:off x="6167439" y="-1"/>
            <a:ext cx="6024561" cy="6857999"/>
          </a:xfrm>
          <a:solidFill>
            <a:schemeClr val="bg2"/>
          </a:solidFill>
        </p:spPr>
        <p:txBody>
          <a:bodyPr lIns="396000" tIns="1638000" rIns="72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2B9C376A-2D46-0441-F7CB-2D0F864241E6}"/>
              </a:ext>
            </a:extLst>
          </p:cNvPr>
          <p:cNvSpPr>
            <a:spLocks noGrp="1"/>
          </p:cNvSpPr>
          <p:nvPr>
            <p:ph type="body" sz="quarter" idx="14" hasCustomPrompt="1"/>
          </p:nvPr>
        </p:nvSpPr>
        <p:spPr>
          <a:xfrm>
            <a:off x="382587" y="6135468"/>
            <a:ext cx="11410950"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BE48D399-D95F-4349-9110-B99D3B3A4E41}"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43770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hree Column Content (Coloured panel)">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46336BA-1D21-0192-CDE3-E2F17C4B3B6C}"/>
              </a:ext>
            </a:extLst>
          </p:cNvPr>
          <p:cNvSpPr>
            <a:spLocks noGrp="1"/>
          </p:cNvSpPr>
          <p:nvPr>
            <p:ph type="title"/>
          </p:nvPr>
        </p:nvSpPr>
        <p:spPr>
          <a:xfrm>
            <a:off x="382588" y="403225"/>
            <a:ext cx="7180856"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164924"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6">
            <a:extLst>
              <a:ext uri="{FF2B5EF4-FFF2-40B4-BE49-F238E27FC236}">
                <a16:creationId xmlns:a16="http://schemas.microsoft.com/office/drawing/2014/main" id="{5DA6206D-F760-8FCD-C1FD-995D8637A703}"/>
              </a:ext>
            </a:extLst>
          </p:cNvPr>
          <p:cNvSpPr>
            <a:spLocks noGrp="1"/>
          </p:cNvSpPr>
          <p:nvPr>
            <p:ph sz="quarter" idx="16"/>
          </p:nvPr>
        </p:nvSpPr>
        <p:spPr>
          <a:xfrm>
            <a:off x="7848600" y="0"/>
            <a:ext cx="4343400" cy="6857999"/>
          </a:xfrm>
          <a:solidFill>
            <a:schemeClr val="bg2"/>
          </a:solidFill>
        </p:spPr>
        <p:txBody>
          <a:bodyPr lIns="360000" tIns="1638000" rIns="72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DA922E7F-881D-25A0-AC07-F1F2B6001EE1}"/>
              </a:ext>
            </a:extLst>
          </p:cNvPr>
          <p:cNvSpPr>
            <a:spLocks noGrp="1"/>
          </p:cNvSpPr>
          <p:nvPr>
            <p:ph type="body" sz="quarter" idx="17"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52720CD9-D609-46C3-8253-87BABBD7015C}"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45102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92533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wo Column and Image">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B9A2962-A043-8A6B-31F0-A893DFC32C88}"/>
              </a:ext>
            </a:extLst>
          </p:cNvPr>
          <p:cNvSpPr>
            <a:spLocks noGrp="1"/>
          </p:cNvSpPr>
          <p:nvPr>
            <p:ph type="title"/>
          </p:nvPr>
        </p:nvSpPr>
        <p:spPr>
          <a:xfrm>
            <a:off x="382588" y="403225"/>
            <a:ext cx="7180856" cy="998855"/>
          </a:xfrm>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164924" y="1593621"/>
            <a:ext cx="3398520"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13">
            <a:extLst>
              <a:ext uri="{FF2B5EF4-FFF2-40B4-BE49-F238E27FC236}">
                <a16:creationId xmlns:a16="http://schemas.microsoft.com/office/drawing/2014/main" id="{D5D38E7B-94E7-80EC-7C80-6DFEA1864798}"/>
              </a:ext>
            </a:extLst>
          </p:cNvPr>
          <p:cNvSpPr>
            <a:spLocks noGrp="1"/>
          </p:cNvSpPr>
          <p:nvPr>
            <p:ph type="pic" sz="quarter" idx="18"/>
          </p:nvPr>
        </p:nvSpPr>
        <p:spPr>
          <a:xfrm>
            <a:off x="7848600" y="0"/>
            <a:ext cx="4343400" cy="6858000"/>
          </a:xfrm>
        </p:spPr>
        <p:txBody>
          <a:bodyPr/>
          <a:lstStyle/>
          <a:p>
            <a:r>
              <a:rPr lang="en-US"/>
              <a:t>Click icon to add picture</a:t>
            </a:r>
            <a:endParaRPr lang="en-GB"/>
          </a:p>
        </p:txBody>
      </p:sp>
      <p:sp>
        <p:nvSpPr>
          <p:cNvPr id="13" name="Text Placeholder 9">
            <a:extLst>
              <a:ext uri="{FF2B5EF4-FFF2-40B4-BE49-F238E27FC236}">
                <a16:creationId xmlns:a16="http://schemas.microsoft.com/office/drawing/2014/main" id="{DA922E7F-881D-25A0-AC07-F1F2B6001EE1}"/>
              </a:ext>
            </a:extLst>
          </p:cNvPr>
          <p:cNvSpPr>
            <a:spLocks noGrp="1"/>
          </p:cNvSpPr>
          <p:nvPr>
            <p:ph type="body" sz="quarter" idx="17"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336555AF-91A3-41F0-B68B-8914D26F7750}"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50522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hree Colum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1BAB6-8624-3312-1791-1BBA427839B4}"/>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368946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4243329" y="1593621"/>
            <a:ext cx="368946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8104070" y="1593621"/>
            <a:ext cx="368946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9A98C0E0-26F0-55C2-E153-78284C244622}"/>
              </a:ext>
            </a:extLst>
          </p:cNvPr>
          <p:cNvSpPr>
            <a:spLocks noGrp="1"/>
          </p:cNvSpPr>
          <p:nvPr>
            <p:ph type="body" sz="quarter" idx="16" hasCustomPrompt="1"/>
          </p:nvPr>
        </p:nvSpPr>
        <p:spPr>
          <a:xfrm>
            <a:off x="382586" y="6135468"/>
            <a:ext cx="11410951"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18A7B925-5BE5-4C73-AF91-D318C3B2EC59}"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75786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Four Column Content ">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66D8AF-2F55-696A-EF6F-1BC3DBB30E31}"/>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588" y="1593621"/>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3277659" y="1593621"/>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6172730" y="1595526"/>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a:extLst>
              <a:ext uri="{FF2B5EF4-FFF2-40B4-BE49-F238E27FC236}">
                <a16:creationId xmlns:a16="http://schemas.microsoft.com/office/drawing/2014/main" id="{70F4ED81-A228-6130-6820-4C6470D1F580}"/>
              </a:ext>
            </a:extLst>
          </p:cNvPr>
          <p:cNvSpPr>
            <a:spLocks noGrp="1"/>
          </p:cNvSpPr>
          <p:nvPr>
            <p:ph sz="quarter" idx="16"/>
          </p:nvPr>
        </p:nvSpPr>
        <p:spPr>
          <a:xfrm>
            <a:off x="9067801" y="1595526"/>
            <a:ext cx="2725737"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AE6BD504-A916-D487-4B37-4E5E04904CAD}"/>
              </a:ext>
            </a:extLst>
          </p:cNvPr>
          <p:cNvSpPr>
            <a:spLocks noGrp="1"/>
          </p:cNvSpPr>
          <p:nvPr>
            <p:ph type="body" sz="quarter" idx="17"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E9857CA3-04D6-4F53-8451-58DD27E8524E}"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09222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Five Column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6B8D84-E9FE-2CF3-0C2F-0C41CC12D089}"/>
              </a:ext>
            </a:extLst>
          </p:cNvPr>
          <p:cNvSpPr>
            <a:spLocks noGrp="1"/>
          </p:cNvSpPr>
          <p:nvPr>
            <p:ph type="title"/>
          </p:nvPr>
        </p:nvSpPr>
        <p:spPr/>
        <p:txBody>
          <a:bodyPr vert="horz"/>
          <a:lstStyle/>
          <a:p>
            <a:r>
              <a:rPr lang="en-US"/>
              <a:t>Click to edit Master title style</a:t>
            </a:r>
            <a:endParaRPr lang="en-GB"/>
          </a:p>
        </p:txBody>
      </p:sp>
      <p:sp>
        <p:nvSpPr>
          <p:cNvPr id="7" name="Content Placeholder 6">
            <a:extLst>
              <a:ext uri="{FF2B5EF4-FFF2-40B4-BE49-F238E27FC236}">
                <a16:creationId xmlns:a16="http://schemas.microsoft.com/office/drawing/2014/main" id="{E3670E4F-9C81-C547-51FF-AC378355495C}"/>
              </a:ext>
            </a:extLst>
          </p:cNvPr>
          <p:cNvSpPr>
            <a:spLocks noGrp="1"/>
          </p:cNvSpPr>
          <p:nvPr>
            <p:ph sz="quarter" idx="13"/>
          </p:nvPr>
        </p:nvSpPr>
        <p:spPr>
          <a:xfrm>
            <a:off x="382324"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a:extLst>
              <a:ext uri="{FF2B5EF4-FFF2-40B4-BE49-F238E27FC236}">
                <a16:creationId xmlns:a16="http://schemas.microsoft.com/office/drawing/2014/main" id="{C0E5285F-B36B-905F-3F79-DC537CCC6AD9}"/>
              </a:ext>
            </a:extLst>
          </p:cNvPr>
          <p:cNvSpPr>
            <a:spLocks noGrp="1"/>
          </p:cNvSpPr>
          <p:nvPr>
            <p:ph sz="quarter" idx="14"/>
          </p:nvPr>
        </p:nvSpPr>
        <p:spPr>
          <a:xfrm>
            <a:off x="2698486"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6">
            <a:extLst>
              <a:ext uri="{FF2B5EF4-FFF2-40B4-BE49-F238E27FC236}">
                <a16:creationId xmlns:a16="http://schemas.microsoft.com/office/drawing/2014/main" id="{D86C3B5D-A4EC-A0E0-CD98-83832E4D0592}"/>
              </a:ext>
            </a:extLst>
          </p:cNvPr>
          <p:cNvSpPr>
            <a:spLocks noGrp="1"/>
          </p:cNvSpPr>
          <p:nvPr>
            <p:ph sz="quarter" idx="15"/>
          </p:nvPr>
        </p:nvSpPr>
        <p:spPr>
          <a:xfrm>
            <a:off x="5014648"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6">
            <a:extLst>
              <a:ext uri="{FF2B5EF4-FFF2-40B4-BE49-F238E27FC236}">
                <a16:creationId xmlns:a16="http://schemas.microsoft.com/office/drawing/2014/main" id="{70F4ED81-A228-6130-6820-4C6470D1F580}"/>
              </a:ext>
            </a:extLst>
          </p:cNvPr>
          <p:cNvSpPr>
            <a:spLocks noGrp="1"/>
          </p:cNvSpPr>
          <p:nvPr>
            <p:ph sz="quarter" idx="16"/>
          </p:nvPr>
        </p:nvSpPr>
        <p:spPr>
          <a:xfrm>
            <a:off x="7330810"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6">
            <a:extLst>
              <a:ext uri="{FF2B5EF4-FFF2-40B4-BE49-F238E27FC236}">
                <a16:creationId xmlns:a16="http://schemas.microsoft.com/office/drawing/2014/main" id="{B15F4F2B-279B-00A7-3FA7-1299DCB823B9}"/>
              </a:ext>
            </a:extLst>
          </p:cNvPr>
          <p:cNvSpPr>
            <a:spLocks noGrp="1"/>
          </p:cNvSpPr>
          <p:nvPr>
            <p:ph sz="quarter" idx="17"/>
          </p:nvPr>
        </p:nvSpPr>
        <p:spPr>
          <a:xfrm>
            <a:off x="9646972" y="1593621"/>
            <a:ext cx="214629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9">
            <a:extLst>
              <a:ext uri="{FF2B5EF4-FFF2-40B4-BE49-F238E27FC236}">
                <a16:creationId xmlns:a16="http://schemas.microsoft.com/office/drawing/2014/main" id="{1B291738-D43F-9D8B-2659-421D0BDAD3BD}"/>
              </a:ext>
            </a:extLst>
          </p:cNvPr>
          <p:cNvSpPr>
            <a:spLocks noGrp="1"/>
          </p:cNvSpPr>
          <p:nvPr>
            <p:ph type="body" sz="quarter" idx="18" hasCustomPrompt="1"/>
          </p:nvPr>
        </p:nvSpPr>
        <p:spPr>
          <a:xfrm>
            <a:off x="382586" y="6135468"/>
            <a:ext cx="11410683"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B904D913-FEF3-4822-979B-50615CD51B51}"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87969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8 Box Content ">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7973C4E-1417-087F-6A33-0E853D4E2BBD}"/>
              </a:ext>
            </a:extLst>
          </p:cNvPr>
          <p:cNvSpPr>
            <a:spLocks noGrp="1"/>
          </p:cNvSpPr>
          <p:nvPr>
            <p:ph type="title"/>
          </p:nvPr>
        </p:nvSpPr>
        <p:spPr/>
        <p:txBody>
          <a:bodyPr vert="horz"/>
          <a:lstStyle/>
          <a:p>
            <a:r>
              <a:rPr lang="en-US"/>
              <a:t>Click to edit Master title style</a:t>
            </a:r>
            <a:endParaRPr lang="en-GB"/>
          </a:p>
        </p:txBody>
      </p:sp>
      <p:sp>
        <p:nvSpPr>
          <p:cNvPr id="26" name="Content Placeholder 25">
            <a:extLst>
              <a:ext uri="{FF2B5EF4-FFF2-40B4-BE49-F238E27FC236}">
                <a16:creationId xmlns:a16="http://schemas.microsoft.com/office/drawing/2014/main" id="{833BC742-D40C-1DEA-4244-EF021366FFF6}"/>
              </a:ext>
            </a:extLst>
          </p:cNvPr>
          <p:cNvSpPr>
            <a:spLocks noGrp="1"/>
          </p:cNvSpPr>
          <p:nvPr>
            <p:ph sz="quarter" idx="13"/>
          </p:nvPr>
        </p:nvSpPr>
        <p:spPr>
          <a:xfrm>
            <a:off x="3825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6">
            <a:extLst>
              <a:ext uri="{FF2B5EF4-FFF2-40B4-BE49-F238E27FC236}">
                <a16:creationId xmlns:a16="http://schemas.microsoft.com/office/drawing/2014/main" id="{010ACC1A-0EBE-E7E4-6129-12E33033C092}"/>
              </a:ext>
            </a:extLst>
          </p:cNvPr>
          <p:cNvSpPr>
            <a:spLocks noGrp="1"/>
          </p:cNvSpPr>
          <p:nvPr>
            <p:ph sz="quarter" idx="14"/>
          </p:nvPr>
        </p:nvSpPr>
        <p:spPr>
          <a:xfrm>
            <a:off x="32781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27">
            <a:extLst>
              <a:ext uri="{FF2B5EF4-FFF2-40B4-BE49-F238E27FC236}">
                <a16:creationId xmlns:a16="http://schemas.microsoft.com/office/drawing/2014/main" id="{2E996EA8-76E4-1055-8B50-BB5B9F8377F2}"/>
              </a:ext>
            </a:extLst>
          </p:cNvPr>
          <p:cNvSpPr>
            <a:spLocks noGrp="1"/>
          </p:cNvSpPr>
          <p:nvPr>
            <p:ph sz="quarter" idx="15"/>
          </p:nvPr>
        </p:nvSpPr>
        <p:spPr>
          <a:xfrm>
            <a:off x="61737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Content Placeholder 28">
            <a:extLst>
              <a:ext uri="{FF2B5EF4-FFF2-40B4-BE49-F238E27FC236}">
                <a16:creationId xmlns:a16="http://schemas.microsoft.com/office/drawing/2014/main" id="{0E1FD717-821B-04EE-3F39-B75110B78D2E}"/>
              </a:ext>
            </a:extLst>
          </p:cNvPr>
          <p:cNvSpPr>
            <a:spLocks noGrp="1"/>
          </p:cNvSpPr>
          <p:nvPr>
            <p:ph sz="quarter" idx="16"/>
          </p:nvPr>
        </p:nvSpPr>
        <p:spPr>
          <a:xfrm>
            <a:off x="9069387" y="15922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Content Placeholder 29">
            <a:extLst>
              <a:ext uri="{FF2B5EF4-FFF2-40B4-BE49-F238E27FC236}">
                <a16:creationId xmlns:a16="http://schemas.microsoft.com/office/drawing/2014/main" id="{FFE27968-0433-1CC8-D73B-207828541E7B}"/>
              </a:ext>
            </a:extLst>
          </p:cNvPr>
          <p:cNvSpPr>
            <a:spLocks noGrp="1"/>
          </p:cNvSpPr>
          <p:nvPr>
            <p:ph sz="quarter" idx="17"/>
          </p:nvPr>
        </p:nvSpPr>
        <p:spPr>
          <a:xfrm>
            <a:off x="3825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30">
            <a:extLst>
              <a:ext uri="{FF2B5EF4-FFF2-40B4-BE49-F238E27FC236}">
                <a16:creationId xmlns:a16="http://schemas.microsoft.com/office/drawing/2014/main" id="{1C1AED4B-840D-C0C5-4030-B56AFAEF4F6F}"/>
              </a:ext>
            </a:extLst>
          </p:cNvPr>
          <p:cNvSpPr>
            <a:spLocks noGrp="1"/>
          </p:cNvSpPr>
          <p:nvPr>
            <p:ph sz="quarter" idx="18"/>
          </p:nvPr>
        </p:nvSpPr>
        <p:spPr>
          <a:xfrm>
            <a:off x="32781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31">
            <a:extLst>
              <a:ext uri="{FF2B5EF4-FFF2-40B4-BE49-F238E27FC236}">
                <a16:creationId xmlns:a16="http://schemas.microsoft.com/office/drawing/2014/main" id="{EBD65AA3-9F18-4DBD-6E3C-E5EC70199C20}"/>
              </a:ext>
            </a:extLst>
          </p:cNvPr>
          <p:cNvSpPr>
            <a:spLocks noGrp="1"/>
          </p:cNvSpPr>
          <p:nvPr>
            <p:ph sz="quarter" idx="19"/>
          </p:nvPr>
        </p:nvSpPr>
        <p:spPr>
          <a:xfrm>
            <a:off x="61737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32">
            <a:extLst>
              <a:ext uri="{FF2B5EF4-FFF2-40B4-BE49-F238E27FC236}">
                <a16:creationId xmlns:a16="http://schemas.microsoft.com/office/drawing/2014/main" id="{EF6C248B-EB2A-D27E-2D6A-25773C25BF55}"/>
              </a:ext>
            </a:extLst>
          </p:cNvPr>
          <p:cNvSpPr>
            <a:spLocks noGrp="1"/>
          </p:cNvSpPr>
          <p:nvPr>
            <p:ph sz="quarter" idx="20"/>
          </p:nvPr>
        </p:nvSpPr>
        <p:spPr>
          <a:xfrm>
            <a:off x="9069387" y="3929063"/>
            <a:ext cx="2725738" cy="2167606"/>
          </a:xfrm>
          <a:custGeom>
            <a:avLst/>
            <a:gdLst>
              <a:gd name="connsiteX0" fmla="*/ 114991 w 2725738"/>
              <a:gd name="connsiteY0" fmla="*/ 0 h 2167606"/>
              <a:gd name="connsiteX1" fmla="*/ 2610747 w 2725738"/>
              <a:gd name="connsiteY1" fmla="*/ 0 h 2167606"/>
              <a:gd name="connsiteX2" fmla="*/ 2725738 w 2725738"/>
              <a:gd name="connsiteY2" fmla="*/ 114991 h 2167606"/>
              <a:gd name="connsiteX3" fmla="*/ 2725738 w 2725738"/>
              <a:gd name="connsiteY3" fmla="*/ 2052615 h 2167606"/>
              <a:gd name="connsiteX4" fmla="*/ 2610747 w 2725738"/>
              <a:gd name="connsiteY4" fmla="*/ 2167606 h 2167606"/>
              <a:gd name="connsiteX5" fmla="*/ 114991 w 2725738"/>
              <a:gd name="connsiteY5" fmla="*/ 2167606 h 2167606"/>
              <a:gd name="connsiteX6" fmla="*/ 0 w 2725738"/>
              <a:gd name="connsiteY6" fmla="*/ 2052615 h 2167606"/>
              <a:gd name="connsiteX7" fmla="*/ 0 w 2725738"/>
              <a:gd name="connsiteY7" fmla="*/ 114991 h 2167606"/>
              <a:gd name="connsiteX8" fmla="*/ 114991 w 2725738"/>
              <a:gd name="connsiteY8" fmla="*/ 0 h 216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5738" h="2167606">
                <a:moveTo>
                  <a:pt x="114991" y="0"/>
                </a:moveTo>
                <a:lnTo>
                  <a:pt x="2610747" y="0"/>
                </a:lnTo>
                <a:cubicBezTo>
                  <a:pt x="2674255" y="0"/>
                  <a:pt x="2725738" y="51483"/>
                  <a:pt x="2725738" y="114991"/>
                </a:cubicBezTo>
                <a:lnTo>
                  <a:pt x="2725738" y="2052615"/>
                </a:lnTo>
                <a:cubicBezTo>
                  <a:pt x="2725738" y="2116123"/>
                  <a:pt x="2674255" y="2167606"/>
                  <a:pt x="2610747" y="2167606"/>
                </a:cubicBezTo>
                <a:lnTo>
                  <a:pt x="114991" y="2167606"/>
                </a:lnTo>
                <a:cubicBezTo>
                  <a:pt x="51483" y="2167606"/>
                  <a:pt x="0" y="2116123"/>
                  <a:pt x="0" y="2052615"/>
                </a:cubicBezTo>
                <a:lnTo>
                  <a:pt x="0" y="114991"/>
                </a:lnTo>
                <a:cubicBezTo>
                  <a:pt x="0" y="51483"/>
                  <a:pt x="51483" y="0"/>
                  <a:pt x="114991" y="0"/>
                </a:cubicBezTo>
                <a:close/>
              </a:path>
            </a:pathLst>
          </a:custGeom>
        </p:spPr>
        <p:txBody>
          <a:bodyPr wrap="square" lIns="144000" tIns="144000" rIns="252000">
            <a:noAutofit/>
          </a:bodyPr>
          <a:lstStyle>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F2B3CD09-C8FF-8026-C233-2B7F637CD96D}"/>
              </a:ext>
            </a:extLst>
          </p:cNvPr>
          <p:cNvSpPr>
            <a:spLocks noGrp="1"/>
          </p:cNvSpPr>
          <p:nvPr>
            <p:ph type="body" sz="quarter" idx="21"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A7728EC-6869-BF41-19DA-8BE69F479A12}"/>
              </a:ext>
            </a:extLst>
          </p:cNvPr>
          <p:cNvSpPr>
            <a:spLocks noGrp="1"/>
          </p:cNvSpPr>
          <p:nvPr>
            <p:ph type="dt" sz="half" idx="12"/>
          </p:nvPr>
        </p:nvSpPr>
        <p:spPr/>
        <p:txBody>
          <a:bodyPr/>
          <a:lstStyle/>
          <a:p>
            <a:fld id="{17A00E87-D74F-4393-AEAA-24EF260EC224}" type="datetime3">
              <a:rPr lang="en-GB" smtClean="0"/>
              <a:t>5 December, 2025</a:t>
            </a:fld>
            <a:endParaRPr lang="en-GB"/>
          </a:p>
        </p:txBody>
      </p:sp>
      <p:sp>
        <p:nvSpPr>
          <p:cNvPr id="3" name="Footer Placeholder 2">
            <a:extLst>
              <a:ext uri="{FF2B5EF4-FFF2-40B4-BE49-F238E27FC236}">
                <a16:creationId xmlns:a16="http://schemas.microsoft.com/office/drawing/2014/main" id="{E0231CFE-F5B9-1AAB-AA10-5CBB4F72D83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4D4DABB2-D123-5DFD-CD53-FBB7050A8D8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58479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Colour Background and Content">
    <p:bg>
      <p:bgPr>
        <a:solidFill>
          <a:srgbClr val="C7FFC6"/>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60F7AC-5D6C-2C65-5880-486692521CCB}"/>
              </a:ext>
            </a:extLst>
          </p:cNvPr>
          <p:cNvSpPr>
            <a:spLocks noGrp="1"/>
          </p:cNvSpPr>
          <p:nvPr>
            <p:ph type="title"/>
          </p:nvPr>
        </p:nvSpPr>
        <p:spPr/>
        <p:txBody>
          <a:bodyPr vert="horz"/>
          <a:lstStyle/>
          <a:p>
            <a:r>
              <a:rPr lang="en-US"/>
              <a:t>Click to edit Master title style</a:t>
            </a:r>
            <a:endParaRPr lang="en-GB"/>
          </a:p>
        </p:txBody>
      </p:sp>
      <p:sp>
        <p:nvSpPr>
          <p:cNvPr id="11" name="Text Placeholder 10">
            <a:extLst>
              <a:ext uri="{FF2B5EF4-FFF2-40B4-BE49-F238E27FC236}">
                <a16:creationId xmlns:a16="http://schemas.microsoft.com/office/drawing/2014/main" id="{A548D859-6035-97D8-AE72-09A2AA408A0E}"/>
              </a:ext>
            </a:extLst>
          </p:cNvPr>
          <p:cNvSpPr>
            <a:spLocks noGrp="1"/>
          </p:cNvSpPr>
          <p:nvPr>
            <p:ph type="body" sz="quarter" idx="13"/>
          </p:nvPr>
        </p:nvSpPr>
        <p:spPr>
          <a:xfrm>
            <a:off x="382588" y="1592263"/>
            <a:ext cx="11410950" cy="4503420"/>
          </a:xfrm>
          <a:custGeom>
            <a:avLst/>
            <a:gdLst>
              <a:gd name="connsiteX0" fmla="*/ 110514 w 11410950"/>
              <a:gd name="connsiteY0" fmla="*/ 0 h 4503420"/>
              <a:gd name="connsiteX1" fmla="*/ 11300436 w 11410950"/>
              <a:gd name="connsiteY1" fmla="*/ 0 h 4503420"/>
              <a:gd name="connsiteX2" fmla="*/ 11410950 w 11410950"/>
              <a:gd name="connsiteY2" fmla="*/ 110514 h 4503420"/>
              <a:gd name="connsiteX3" fmla="*/ 11410950 w 11410950"/>
              <a:gd name="connsiteY3" fmla="*/ 4392906 h 4503420"/>
              <a:gd name="connsiteX4" fmla="*/ 11300436 w 11410950"/>
              <a:gd name="connsiteY4" fmla="*/ 4503420 h 4503420"/>
              <a:gd name="connsiteX5" fmla="*/ 110514 w 11410950"/>
              <a:gd name="connsiteY5" fmla="*/ 4503420 h 4503420"/>
              <a:gd name="connsiteX6" fmla="*/ 0 w 11410950"/>
              <a:gd name="connsiteY6" fmla="*/ 4392906 h 4503420"/>
              <a:gd name="connsiteX7" fmla="*/ 0 w 11410950"/>
              <a:gd name="connsiteY7" fmla="*/ 110514 h 4503420"/>
              <a:gd name="connsiteX8" fmla="*/ 110514 w 11410950"/>
              <a:gd name="connsiteY8" fmla="*/ 0 h 45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0950" h="4503420">
                <a:moveTo>
                  <a:pt x="110514" y="0"/>
                </a:moveTo>
                <a:lnTo>
                  <a:pt x="11300436" y="0"/>
                </a:lnTo>
                <a:cubicBezTo>
                  <a:pt x="11361471" y="0"/>
                  <a:pt x="11410950" y="49479"/>
                  <a:pt x="11410950" y="110514"/>
                </a:cubicBezTo>
                <a:lnTo>
                  <a:pt x="11410950" y="4392906"/>
                </a:lnTo>
                <a:cubicBezTo>
                  <a:pt x="11410950" y="4453941"/>
                  <a:pt x="11361471" y="4503420"/>
                  <a:pt x="11300436" y="4503420"/>
                </a:cubicBezTo>
                <a:lnTo>
                  <a:pt x="110514" y="4503420"/>
                </a:lnTo>
                <a:cubicBezTo>
                  <a:pt x="49479" y="4503420"/>
                  <a:pt x="0" y="4453941"/>
                  <a:pt x="0" y="4392906"/>
                </a:cubicBezTo>
                <a:lnTo>
                  <a:pt x="0" y="110514"/>
                </a:lnTo>
                <a:cubicBezTo>
                  <a:pt x="0" y="49479"/>
                  <a:pt x="49479" y="0"/>
                  <a:pt x="110514" y="0"/>
                </a:cubicBezTo>
                <a:close/>
              </a:path>
            </a:pathLst>
          </a:custGeom>
          <a:solidFill>
            <a:schemeClr val="bg1"/>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a:extLst>
              <a:ext uri="{FF2B5EF4-FFF2-40B4-BE49-F238E27FC236}">
                <a16:creationId xmlns:a16="http://schemas.microsoft.com/office/drawing/2014/main" id="{ABDDC91C-D2C0-29BC-EB3C-10CD00452EC2}"/>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580C891-082A-39B9-12C0-386449D6C78A}"/>
              </a:ext>
            </a:extLst>
          </p:cNvPr>
          <p:cNvSpPr>
            <a:spLocks noGrp="1"/>
          </p:cNvSpPr>
          <p:nvPr>
            <p:ph type="dt" sz="half" idx="12"/>
          </p:nvPr>
        </p:nvSpPr>
        <p:spPr/>
        <p:txBody>
          <a:bodyPr/>
          <a:lstStyle/>
          <a:p>
            <a:fld id="{5DCF4916-2DDA-4596-A5E4-FCCC6EFF6C8C}" type="datetime3">
              <a:rPr lang="en-GB" smtClean="0"/>
              <a:t>5 December, 2025</a:t>
            </a:fld>
            <a:endParaRPr lang="en-GB"/>
          </a:p>
        </p:txBody>
      </p:sp>
      <p:sp>
        <p:nvSpPr>
          <p:cNvPr id="3" name="Footer Placeholder 2">
            <a:extLst>
              <a:ext uri="{FF2B5EF4-FFF2-40B4-BE49-F238E27FC236}">
                <a16:creationId xmlns:a16="http://schemas.microsoft.com/office/drawing/2014/main" id="{6AEF036E-F351-F24E-92EC-E6C880EDF9E2}"/>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6268E5DB-274D-3140-E129-DA7B5BBF9646}"/>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79762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and Colour Content ">
    <p:bg>
      <p:bgPr>
        <a:solidFill>
          <a:schemeClr val="bg1"/>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99BFB743-0FAA-3401-A4B3-9393024ECD54}"/>
              </a:ext>
            </a:extLst>
          </p:cNvPr>
          <p:cNvSpPr>
            <a:spLocks noGrp="1"/>
          </p:cNvSpPr>
          <p:nvPr>
            <p:ph type="title"/>
          </p:nvPr>
        </p:nvSpPr>
        <p:spPr/>
        <p:txBody>
          <a:bodyPr vert="horz"/>
          <a:lstStyle/>
          <a:p>
            <a:r>
              <a:rPr lang="en-US"/>
              <a:t>Click to edit Master title style</a:t>
            </a:r>
            <a:endParaRPr lang="en-GB"/>
          </a:p>
        </p:txBody>
      </p:sp>
      <p:sp>
        <p:nvSpPr>
          <p:cNvPr id="11" name="Text Placeholder 10">
            <a:extLst>
              <a:ext uri="{FF2B5EF4-FFF2-40B4-BE49-F238E27FC236}">
                <a16:creationId xmlns:a16="http://schemas.microsoft.com/office/drawing/2014/main" id="{A548D859-6035-97D8-AE72-09A2AA408A0E}"/>
              </a:ext>
            </a:extLst>
          </p:cNvPr>
          <p:cNvSpPr>
            <a:spLocks noGrp="1"/>
          </p:cNvSpPr>
          <p:nvPr>
            <p:ph type="body" sz="quarter" idx="13"/>
          </p:nvPr>
        </p:nvSpPr>
        <p:spPr>
          <a:xfrm>
            <a:off x="382588" y="1592263"/>
            <a:ext cx="11410950" cy="4503420"/>
          </a:xfrm>
          <a:custGeom>
            <a:avLst/>
            <a:gdLst>
              <a:gd name="connsiteX0" fmla="*/ 110514 w 11410950"/>
              <a:gd name="connsiteY0" fmla="*/ 0 h 4503420"/>
              <a:gd name="connsiteX1" fmla="*/ 11300436 w 11410950"/>
              <a:gd name="connsiteY1" fmla="*/ 0 h 4503420"/>
              <a:gd name="connsiteX2" fmla="*/ 11410950 w 11410950"/>
              <a:gd name="connsiteY2" fmla="*/ 110514 h 4503420"/>
              <a:gd name="connsiteX3" fmla="*/ 11410950 w 11410950"/>
              <a:gd name="connsiteY3" fmla="*/ 4392906 h 4503420"/>
              <a:gd name="connsiteX4" fmla="*/ 11300436 w 11410950"/>
              <a:gd name="connsiteY4" fmla="*/ 4503420 h 4503420"/>
              <a:gd name="connsiteX5" fmla="*/ 110514 w 11410950"/>
              <a:gd name="connsiteY5" fmla="*/ 4503420 h 4503420"/>
              <a:gd name="connsiteX6" fmla="*/ 0 w 11410950"/>
              <a:gd name="connsiteY6" fmla="*/ 4392906 h 4503420"/>
              <a:gd name="connsiteX7" fmla="*/ 0 w 11410950"/>
              <a:gd name="connsiteY7" fmla="*/ 110514 h 4503420"/>
              <a:gd name="connsiteX8" fmla="*/ 110514 w 11410950"/>
              <a:gd name="connsiteY8" fmla="*/ 0 h 45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0950" h="4503420">
                <a:moveTo>
                  <a:pt x="110514" y="0"/>
                </a:moveTo>
                <a:lnTo>
                  <a:pt x="11300436" y="0"/>
                </a:lnTo>
                <a:cubicBezTo>
                  <a:pt x="11361471" y="0"/>
                  <a:pt x="11410950" y="49479"/>
                  <a:pt x="11410950" y="110514"/>
                </a:cubicBezTo>
                <a:lnTo>
                  <a:pt x="11410950" y="4392906"/>
                </a:lnTo>
                <a:cubicBezTo>
                  <a:pt x="11410950" y="4453941"/>
                  <a:pt x="11361471" y="4503420"/>
                  <a:pt x="11300436" y="4503420"/>
                </a:cubicBezTo>
                <a:lnTo>
                  <a:pt x="110514" y="4503420"/>
                </a:lnTo>
                <a:cubicBezTo>
                  <a:pt x="49479" y="4503420"/>
                  <a:pt x="0" y="4453941"/>
                  <a:pt x="0" y="4392906"/>
                </a:cubicBezTo>
                <a:lnTo>
                  <a:pt x="0" y="110514"/>
                </a:lnTo>
                <a:cubicBezTo>
                  <a:pt x="0" y="49479"/>
                  <a:pt x="49479" y="0"/>
                  <a:pt x="110514" y="0"/>
                </a:cubicBezTo>
                <a:close/>
              </a:path>
            </a:pathLst>
          </a:custGeom>
          <a:solidFill>
            <a:srgbClr val="6CF479"/>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A823045D-4165-EA06-5085-7543BD6F1C53}"/>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580C891-082A-39B9-12C0-386449D6C78A}"/>
              </a:ext>
            </a:extLst>
          </p:cNvPr>
          <p:cNvSpPr>
            <a:spLocks noGrp="1"/>
          </p:cNvSpPr>
          <p:nvPr>
            <p:ph type="dt" sz="half" idx="12"/>
          </p:nvPr>
        </p:nvSpPr>
        <p:spPr/>
        <p:txBody>
          <a:bodyPr/>
          <a:lstStyle/>
          <a:p>
            <a:fld id="{3FCD6323-837B-4B1C-8026-79E2F0A3E1DF}" type="datetime3">
              <a:rPr lang="en-GB" smtClean="0"/>
              <a:t>5 December, 2025</a:t>
            </a:fld>
            <a:endParaRPr lang="en-GB"/>
          </a:p>
        </p:txBody>
      </p:sp>
      <p:sp>
        <p:nvSpPr>
          <p:cNvPr id="3" name="Footer Placeholder 2">
            <a:extLst>
              <a:ext uri="{FF2B5EF4-FFF2-40B4-BE49-F238E27FC236}">
                <a16:creationId xmlns:a16="http://schemas.microsoft.com/office/drawing/2014/main" id="{6AEF036E-F351-F24E-92EC-E6C880EDF9E2}"/>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6268E5DB-274D-3140-E129-DA7B5BBF9646}"/>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8941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Boxed Content">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751815A-DD25-1E6A-DFFD-275AC38D3815}"/>
              </a:ext>
            </a:extLst>
          </p:cNvPr>
          <p:cNvSpPr>
            <a:spLocks noGrp="1"/>
          </p:cNvSpPr>
          <p:nvPr>
            <p:ph type="title"/>
          </p:nvPr>
        </p:nvSpPr>
        <p:spPr/>
        <p:txBody>
          <a:bodyPr vert="horz"/>
          <a:lstStyle/>
          <a:p>
            <a:r>
              <a:rPr lang="en-US"/>
              <a:t>Click to edit Master title style</a:t>
            </a:r>
            <a:endParaRPr lang="en-GB"/>
          </a:p>
        </p:txBody>
      </p:sp>
      <p:sp>
        <p:nvSpPr>
          <p:cNvPr id="11" name="Content Placeholder 10">
            <a:extLst>
              <a:ext uri="{FF2B5EF4-FFF2-40B4-BE49-F238E27FC236}">
                <a16:creationId xmlns:a16="http://schemas.microsoft.com/office/drawing/2014/main" id="{3A309FE1-5BB4-A828-5924-92B8762A829C}"/>
              </a:ext>
            </a:extLst>
          </p:cNvPr>
          <p:cNvSpPr>
            <a:spLocks noGrp="1"/>
          </p:cNvSpPr>
          <p:nvPr>
            <p:ph sz="quarter" idx="13"/>
          </p:nvPr>
        </p:nvSpPr>
        <p:spPr>
          <a:xfrm>
            <a:off x="382589" y="1592263"/>
            <a:ext cx="5635445" cy="4502150"/>
          </a:xfrm>
          <a:custGeom>
            <a:avLst/>
            <a:gdLst>
              <a:gd name="connsiteX0" fmla="*/ 110258 w 5635445"/>
              <a:gd name="connsiteY0" fmla="*/ 0 h 4502150"/>
              <a:gd name="connsiteX1" fmla="*/ 5525187 w 5635445"/>
              <a:gd name="connsiteY1" fmla="*/ 0 h 4502150"/>
              <a:gd name="connsiteX2" fmla="*/ 5635445 w 5635445"/>
              <a:gd name="connsiteY2" fmla="*/ 110258 h 4502150"/>
              <a:gd name="connsiteX3" fmla="*/ 5635445 w 5635445"/>
              <a:gd name="connsiteY3" fmla="*/ 4391892 h 4502150"/>
              <a:gd name="connsiteX4" fmla="*/ 5525187 w 5635445"/>
              <a:gd name="connsiteY4" fmla="*/ 4502150 h 4502150"/>
              <a:gd name="connsiteX5" fmla="*/ 110258 w 5635445"/>
              <a:gd name="connsiteY5" fmla="*/ 4502150 h 4502150"/>
              <a:gd name="connsiteX6" fmla="*/ 0 w 5635445"/>
              <a:gd name="connsiteY6" fmla="*/ 4391892 h 4502150"/>
              <a:gd name="connsiteX7" fmla="*/ 0 w 5635445"/>
              <a:gd name="connsiteY7" fmla="*/ 110258 h 4502150"/>
              <a:gd name="connsiteX8" fmla="*/ 110258 w 563544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5445" h="4502150">
                <a:moveTo>
                  <a:pt x="110258" y="0"/>
                </a:moveTo>
                <a:lnTo>
                  <a:pt x="5525187" y="0"/>
                </a:lnTo>
                <a:cubicBezTo>
                  <a:pt x="5586081" y="0"/>
                  <a:pt x="5635445" y="49364"/>
                  <a:pt x="5635445" y="110258"/>
                </a:cubicBezTo>
                <a:lnTo>
                  <a:pt x="5635445" y="4391892"/>
                </a:lnTo>
                <a:cubicBezTo>
                  <a:pt x="5635445" y="4452786"/>
                  <a:pt x="5586081" y="4502150"/>
                  <a:pt x="5525187" y="4502150"/>
                </a:cubicBezTo>
                <a:lnTo>
                  <a:pt x="110258" y="4502150"/>
                </a:lnTo>
                <a:cubicBezTo>
                  <a:pt x="49364" y="4502150"/>
                  <a:pt x="0" y="4452786"/>
                  <a:pt x="0" y="4391892"/>
                </a:cubicBezTo>
                <a:lnTo>
                  <a:pt x="0" y="110258"/>
                </a:lnTo>
                <a:cubicBezTo>
                  <a:pt x="0" y="49364"/>
                  <a:pt x="49364" y="0"/>
                  <a:pt x="110258"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E5418A5E-DACA-97E1-6D53-DBAFA0B501BC}"/>
              </a:ext>
            </a:extLst>
          </p:cNvPr>
          <p:cNvSpPr>
            <a:spLocks noGrp="1"/>
          </p:cNvSpPr>
          <p:nvPr>
            <p:ph sz="quarter" idx="14"/>
          </p:nvPr>
        </p:nvSpPr>
        <p:spPr>
          <a:xfrm>
            <a:off x="6158093" y="1592263"/>
            <a:ext cx="5635445" cy="4502150"/>
          </a:xfrm>
          <a:custGeom>
            <a:avLst/>
            <a:gdLst>
              <a:gd name="connsiteX0" fmla="*/ 110258 w 5635445"/>
              <a:gd name="connsiteY0" fmla="*/ 0 h 4502150"/>
              <a:gd name="connsiteX1" fmla="*/ 5525187 w 5635445"/>
              <a:gd name="connsiteY1" fmla="*/ 0 h 4502150"/>
              <a:gd name="connsiteX2" fmla="*/ 5635445 w 5635445"/>
              <a:gd name="connsiteY2" fmla="*/ 110258 h 4502150"/>
              <a:gd name="connsiteX3" fmla="*/ 5635445 w 5635445"/>
              <a:gd name="connsiteY3" fmla="*/ 4391892 h 4502150"/>
              <a:gd name="connsiteX4" fmla="*/ 5525187 w 5635445"/>
              <a:gd name="connsiteY4" fmla="*/ 4502150 h 4502150"/>
              <a:gd name="connsiteX5" fmla="*/ 110258 w 5635445"/>
              <a:gd name="connsiteY5" fmla="*/ 4502150 h 4502150"/>
              <a:gd name="connsiteX6" fmla="*/ 0 w 5635445"/>
              <a:gd name="connsiteY6" fmla="*/ 4391892 h 4502150"/>
              <a:gd name="connsiteX7" fmla="*/ 0 w 5635445"/>
              <a:gd name="connsiteY7" fmla="*/ 110258 h 4502150"/>
              <a:gd name="connsiteX8" fmla="*/ 110258 w 563544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5445" h="4502150">
                <a:moveTo>
                  <a:pt x="110258" y="0"/>
                </a:moveTo>
                <a:lnTo>
                  <a:pt x="5525187" y="0"/>
                </a:lnTo>
                <a:cubicBezTo>
                  <a:pt x="5586081" y="0"/>
                  <a:pt x="5635445" y="49364"/>
                  <a:pt x="5635445" y="110258"/>
                </a:cubicBezTo>
                <a:lnTo>
                  <a:pt x="5635445" y="4391892"/>
                </a:lnTo>
                <a:cubicBezTo>
                  <a:pt x="5635445" y="4452786"/>
                  <a:pt x="5586081" y="4502150"/>
                  <a:pt x="5525187" y="4502150"/>
                </a:cubicBezTo>
                <a:lnTo>
                  <a:pt x="110258" y="4502150"/>
                </a:lnTo>
                <a:cubicBezTo>
                  <a:pt x="49364" y="4502150"/>
                  <a:pt x="0" y="4452786"/>
                  <a:pt x="0" y="4391892"/>
                </a:cubicBezTo>
                <a:lnTo>
                  <a:pt x="0" y="110258"/>
                </a:lnTo>
                <a:cubicBezTo>
                  <a:pt x="0" y="49364"/>
                  <a:pt x="49364" y="0"/>
                  <a:pt x="110258"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5755C8C2-4351-C268-D581-128090E73B87}"/>
              </a:ext>
            </a:extLst>
          </p:cNvPr>
          <p:cNvSpPr>
            <a:spLocks noGrp="1"/>
          </p:cNvSpPr>
          <p:nvPr>
            <p:ph type="body" sz="quarter" idx="15"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92218E3C-4823-4F89-A60E-2C0500200A2D}"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66823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hree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57CF0-520E-43C1-08A5-497543FB3368}"/>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A55E9A31-B2E6-5F9C-91F2-15F1C8C88F6B}"/>
              </a:ext>
            </a:extLst>
          </p:cNvPr>
          <p:cNvSpPr>
            <a:spLocks noGrp="1"/>
          </p:cNvSpPr>
          <p:nvPr>
            <p:ph sz="quarter" idx="19"/>
          </p:nvPr>
        </p:nvSpPr>
        <p:spPr>
          <a:xfrm>
            <a:off x="382592"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C99D90AE-1D4A-8562-E607-F9C3BFB42E60}"/>
              </a:ext>
            </a:extLst>
          </p:cNvPr>
          <p:cNvSpPr>
            <a:spLocks noGrp="1"/>
          </p:cNvSpPr>
          <p:nvPr>
            <p:ph sz="quarter" idx="20"/>
          </p:nvPr>
        </p:nvSpPr>
        <p:spPr>
          <a:xfrm>
            <a:off x="4232928"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a:extLst>
              <a:ext uri="{FF2B5EF4-FFF2-40B4-BE49-F238E27FC236}">
                <a16:creationId xmlns:a16="http://schemas.microsoft.com/office/drawing/2014/main" id="{402B3065-0365-F69D-6FF8-D32E0BF69D56}"/>
              </a:ext>
            </a:extLst>
          </p:cNvPr>
          <p:cNvSpPr>
            <a:spLocks noGrp="1"/>
          </p:cNvSpPr>
          <p:nvPr>
            <p:ph sz="quarter" idx="21"/>
          </p:nvPr>
        </p:nvSpPr>
        <p:spPr>
          <a:xfrm>
            <a:off x="8083263"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rgbClr val="006A4D"/>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F02679CB-E303-219C-E924-B0C87EA03969}"/>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17024DF-11DA-4BB2-85CC-3FB4D8D48A0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91553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FB362-E4E4-D0AC-0A44-066F3A5EB55E}"/>
              </a:ext>
            </a:extLst>
          </p:cNvPr>
          <p:cNvSpPr>
            <a:spLocks noGrp="1"/>
          </p:cNvSpPr>
          <p:nvPr>
            <p:ph type="title"/>
          </p:nvPr>
        </p:nvSpPr>
        <p:spPr/>
        <p:txBody>
          <a:bodyPr/>
          <a:lstStyle/>
          <a:p>
            <a:r>
              <a:rPr lang="en-US"/>
              <a:t>Click to edit Master title style</a:t>
            </a:r>
            <a:endParaRPr lang="en-GB"/>
          </a:p>
        </p:txBody>
      </p:sp>
      <p:sp>
        <p:nvSpPr>
          <p:cNvPr id="12" name="Content Placeholder 11">
            <a:extLst>
              <a:ext uri="{FF2B5EF4-FFF2-40B4-BE49-F238E27FC236}">
                <a16:creationId xmlns:a16="http://schemas.microsoft.com/office/drawing/2014/main" id="{D9CBFC8F-3608-9F37-6960-603A4126E064}"/>
              </a:ext>
            </a:extLst>
          </p:cNvPr>
          <p:cNvSpPr>
            <a:spLocks noGrp="1"/>
          </p:cNvSpPr>
          <p:nvPr>
            <p:ph sz="quarter" idx="22"/>
          </p:nvPr>
        </p:nvSpPr>
        <p:spPr>
          <a:xfrm>
            <a:off x="382593"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bg2"/>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23C9F5DA-8F25-242C-759E-CE6A54DEEB34}"/>
              </a:ext>
            </a:extLst>
          </p:cNvPr>
          <p:cNvSpPr>
            <a:spLocks noGrp="1"/>
          </p:cNvSpPr>
          <p:nvPr>
            <p:ph sz="quarter" idx="23"/>
          </p:nvPr>
        </p:nvSpPr>
        <p:spPr>
          <a:xfrm>
            <a:off x="4232928"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bg2"/>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17">
            <a:extLst>
              <a:ext uri="{FF2B5EF4-FFF2-40B4-BE49-F238E27FC236}">
                <a16:creationId xmlns:a16="http://schemas.microsoft.com/office/drawing/2014/main" id="{3582097A-C9A1-A2F9-8A26-7322768BB7BD}"/>
              </a:ext>
            </a:extLst>
          </p:cNvPr>
          <p:cNvSpPr>
            <a:spLocks noGrp="1"/>
          </p:cNvSpPr>
          <p:nvPr>
            <p:ph type="pic" sz="quarter" idx="24"/>
          </p:nvPr>
        </p:nvSpPr>
        <p:spPr>
          <a:xfrm>
            <a:off x="8083264" y="1592263"/>
            <a:ext cx="3710275" cy="4502150"/>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p:spPr>
        <p:txBody>
          <a:bodyPr wrap="square">
            <a:noAutofit/>
          </a:bodyPr>
          <a:lstStyle/>
          <a:p>
            <a:r>
              <a:rPr lang="en-US"/>
              <a:t>Click icon to add picture</a:t>
            </a:r>
            <a:endParaRPr lang="en-GB"/>
          </a:p>
        </p:txBody>
      </p:sp>
      <p:sp>
        <p:nvSpPr>
          <p:cNvPr id="7" name="Text Placeholder 9">
            <a:extLst>
              <a:ext uri="{FF2B5EF4-FFF2-40B4-BE49-F238E27FC236}">
                <a16:creationId xmlns:a16="http://schemas.microsoft.com/office/drawing/2014/main" id="{3AF1DDF9-AA7E-23A7-F60E-7B4638E17756}"/>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415627B2-6A22-434C-AF60-F2A3480C9CC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8835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9010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Four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2CC97-FFCF-E456-5986-81098A8214CE}"/>
              </a:ext>
            </a:extLst>
          </p:cNvPr>
          <p:cNvSpPr>
            <a:spLocks noGrp="1"/>
          </p:cNvSpPr>
          <p:nvPr>
            <p:ph type="title"/>
          </p:nvPr>
        </p:nvSpPr>
        <p:spPr/>
        <p:txBody>
          <a:bodyPr/>
          <a:lstStyle/>
          <a:p>
            <a:r>
              <a:rPr lang="en-US"/>
              <a:t>Click to edit Master title style</a:t>
            </a:r>
            <a:endParaRPr lang="en-GB"/>
          </a:p>
        </p:txBody>
      </p:sp>
      <p:sp>
        <p:nvSpPr>
          <p:cNvPr id="12" name="Content Placeholder 11">
            <a:extLst>
              <a:ext uri="{FF2B5EF4-FFF2-40B4-BE49-F238E27FC236}">
                <a16:creationId xmlns:a16="http://schemas.microsoft.com/office/drawing/2014/main" id="{5E81FF7F-0A2B-1486-6D45-81033AF41F50}"/>
              </a:ext>
            </a:extLst>
          </p:cNvPr>
          <p:cNvSpPr>
            <a:spLocks noGrp="1"/>
          </p:cNvSpPr>
          <p:nvPr>
            <p:ph sz="quarter" idx="20"/>
          </p:nvPr>
        </p:nvSpPr>
        <p:spPr>
          <a:xfrm>
            <a:off x="382593"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C7FFC6"/>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DF053258-B8E6-7EE5-8FAC-41F30E0CC719}"/>
              </a:ext>
            </a:extLst>
          </p:cNvPr>
          <p:cNvSpPr>
            <a:spLocks noGrp="1"/>
          </p:cNvSpPr>
          <p:nvPr>
            <p:ph sz="quarter" idx="21"/>
          </p:nvPr>
        </p:nvSpPr>
        <p:spPr>
          <a:xfrm>
            <a:off x="3271842"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11B67A"/>
          </a:solidFill>
        </p:spPr>
        <p:txBody>
          <a:bodyPr wrap="square" lIns="216000" tIns="180000" rIns="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a:extLst>
              <a:ext uri="{FF2B5EF4-FFF2-40B4-BE49-F238E27FC236}">
                <a16:creationId xmlns:a16="http://schemas.microsoft.com/office/drawing/2014/main" id="{D65B09D0-D124-DE35-C307-BD4E2913CDC3}"/>
              </a:ext>
            </a:extLst>
          </p:cNvPr>
          <p:cNvSpPr>
            <a:spLocks noGrp="1"/>
          </p:cNvSpPr>
          <p:nvPr>
            <p:ph sz="quarter" idx="22"/>
          </p:nvPr>
        </p:nvSpPr>
        <p:spPr>
          <a:xfrm>
            <a:off x="6161091"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rgbClr val="006A4D"/>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4">
            <a:extLst>
              <a:ext uri="{FF2B5EF4-FFF2-40B4-BE49-F238E27FC236}">
                <a16:creationId xmlns:a16="http://schemas.microsoft.com/office/drawing/2014/main" id="{223AF841-A153-030C-9436-530B142257A9}"/>
              </a:ext>
            </a:extLst>
          </p:cNvPr>
          <p:cNvSpPr>
            <a:spLocks noGrp="1"/>
          </p:cNvSpPr>
          <p:nvPr>
            <p:ph sz="quarter" idx="23"/>
          </p:nvPr>
        </p:nvSpPr>
        <p:spPr>
          <a:xfrm>
            <a:off x="9050341" y="1592263"/>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chemeClr val="tx2"/>
          </a:solidFill>
        </p:spPr>
        <p:txBody>
          <a:bodyPr wrap="square" lIns="216000" tIns="180000" rIns="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2EA3000F-FCB8-2364-438D-CB565BC9B82B}"/>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700B129C-985F-41F9-877C-709D8D9E90F7}"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59984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Highlighted Text and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71714F3-124A-0368-601A-816B286A13DD}"/>
              </a:ext>
            </a:extLst>
          </p:cNvPr>
          <p:cNvSpPr>
            <a:spLocks noGrp="1"/>
          </p:cNvSpPr>
          <p:nvPr>
            <p:ph type="title"/>
          </p:nvPr>
        </p:nvSpPr>
        <p:spPr/>
        <p:txBody>
          <a:bodyPr/>
          <a:lstStyle/>
          <a:p>
            <a:r>
              <a:rPr lang="en-US"/>
              <a:t>Click to edit Master title style</a:t>
            </a:r>
            <a:endParaRPr lang="en-GB"/>
          </a:p>
        </p:txBody>
      </p:sp>
      <p:sp>
        <p:nvSpPr>
          <p:cNvPr id="2" name="Text Placeholder 1">
            <a:extLst>
              <a:ext uri="{FF2B5EF4-FFF2-40B4-BE49-F238E27FC236}">
                <a16:creationId xmlns:a16="http://schemas.microsoft.com/office/drawing/2014/main" id="{E867829D-94CE-C8CF-9064-16C18AB1884E}"/>
              </a:ext>
            </a:extLst>
          </p:cNvPr>
          <p:cNvSpPr>
            <a:spLocks noGrp="1"/>
          </p:cNvSpPr>
          <p:nvPr>
            <p:ph type="body" sz="quarter" idx="16"/>
          </p:nvPr>
        </p:nvSpPr>
        <p:spPr>
          <a:xfrm>
            <a:off x="382592" y="1590675"/>
            <a:ext cx="2743197" cy="4502150"/>
          </a:xfrm>
          <a:custGeom>
            <a:avLst/>
            <a:gdLst>
              <a:gd name="connsiteX0" fmla="*/ 114309 w 2743197"/>
              <a:gd name="connsiteY0" fmla="*/ 0 h 4502150"/>
              <a:gd name="connsiteX1" fmla="*/ 2628888 w 2743197"/>
              <a:gd name="connsiteY1" fmla="*/ 0 h 4502150"/>
              <a:gd name="connsiteX2" fmla="*/ 2743197 w 2743197"/>
              <a:gd name="connsiteY2" fmla="*/ 114309 h 4502150"/>
              <a:gd name="connsiteX3" fmla="*/ 2743197 w 2743197"/>
              <a:gd name="connsiteY3" fmla="*/ 4387841 h 4502150"/>
              <a:gd name="connsiteX4" fmla="*/ 2628888 w 2743197"/>
              <a:gd name="connsiteY4" fmla="*/ 4502150 h 4502150"/>
              <a:gd name="connsiteX5" fmla="*/ 114309 w 2743197"/>
              <a:gd name="connsiteY5" fmla="*/ 4502150 h 4502150"/>
              <a:gd name="connsiteX6" fmla="*/ 0 w 2743197"/>
              <a:gd name="connsiteY6" fmla="*/ 4387841 h 4502150"/>
              <a:gd name="connsiteX7" fmla="*/ 0 w 2743197"/>
              <a:gd name="connsiteY7" fmla="*/ 114309 h 4502150"/>
              <a:gd name="connsiteX8" fmla="*/ 114309 w 2743197"/>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197" h="4502150">
                <a:moveTo>
                  <a:pt x="114309" y="0"/>
                </a:moveTo>
                <a:lnTo>
                  <a:pt x="2628888" y="0"/>
                </a:lnTo>
                <a:cubicBezTo>
                  <a:pt x="2692019" y="0"/>
                  <a:pt x="2743197" y="51178"/>
                  <a:pt x="2743197" y="114309"/>
                </a:cubicBezTo>
                <a:lnTo>
                  <a:pt x="2743197" y="4387841"/>
                </a:lnTo>
                <a:cubicBezTo>
                  <a:pt x="2743197" y="4450972"/>
                  <a:pt x="2692019" y="4502150"/>
                  <a:pt x="2628888" y="4502150"/>
                </a:cubicBezTo>
                <a:lnTo>
                  <a:pt x="114309" y="4502150"/>
                </a:lnTo>
                <a:cubicBezTo>
                  <a:pt x="51178" y="4502150"/>
                  <a:pt x="0" y="4450972"/>
                  <a:pt x="0" y="4387841"/>
                </a:cubicBezTo>
                <a:lnTo>
                  <a:pt x="0" y="114309"/>
                </a:lnTo>
                <a:cubicBezTo>
                  <a:pt x="0" y="51178"/>
                  <a:pt x="51178" y="0"/>
                  <a:pt x="114309" y="0"/>
                </a:cubicBezTo>
                <a:close/>
              </a:path>
            </a:pathLst>
          </a:custGeom>
          <a:solidFill>
            <a:schemeClr val="bg2"/>
          </a:solidFill>
        </p:spPr>
        <p:txBody>
          <a:bodyPr wrap="square" lIns="216000" tIns="180000" rIns="180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1">
            <a:extLst>
              <a:ext uri="{FF2B5EF4-FFF2-40B4-BE49-F238E27FC236}">
                <a16:creationId xmlns:a16="http://schemas.microsoft.com/office/drawing/2014/main" id="{CC6E2891-D272-59C9-A316-72DCD8E4F17B}"/>
              </a:ext>
            </a:extLst>
          </p:cNvPr>
          <p:cNvSpPr>
            <a:spLocks noGrp="1"/>
          </p:cNvSpPr>
          <p:nvPr>
            <p:ph sz="quarter" idx="22"/>
          </p:nvPr>
        </p:nvSpPr>
        <p:spPr>
          <a:xfrm>
            <a:off x="3271841" y="1590675"/>
            <a:ext cx="8521696" cy="4502150"/>
          </a:xfrm>
          <a:custGeom>
            <a:avLst/>
            <a:gdLst>
              <a:gd name="connsiteX0" fmla="*/ 114309 w 8521696"/>
              <a:gd name="connsiteY0" fmla="*/ 0 h 4502150"/>
              <a:gd name="connsiteX1" fmla="*/ 2035707 w 8521696"/>
              <a:gd name="connsiteY1" fmla="*/ 0 h 4502150"/>
              <a:gd name="connsiteX2" fmla="*/ 2628888 w 8521696"/>
              <a:gd name="connsiteY2" fmla="*/ 0 h 4502150"/>
              <a:gd name="connsiteX3" fmla="*/ 3003559 w 8521696"/>
              <a:gd name="connsiteY3" fmla="*/ 0 h 4502150"/>
              <a:gd name="connsiteX4" fmla="*/ 3355221 w 8521696"/>
              <a:gd name="connsiteY4" fmla="*/ 0 h 4502150"/>
              <a:gd name="connsiteX5" fmla="*/ 4550286 w 8521696"/>
              <a:gd name="connsiteY5" fmla="*/ 0 h 4502150"/>
              <a:gd name="connsiteX6" fmla="*/ 5518138 w 8521696"/>
              <a:gd name="connsiteY6" fmla="*/ 0 h 4502150"/>
              <a:gd name="connsiteX7" fmla="*/ 5869800 w 8521696"/>
              <a:gd name="connsiteY7" fmla="*/ 0 h 4502150"/>
              <a:gd name="connsiteX8" fmla="*/ 5881304 w 8521696"/>
              <a:gd name="connsiteY8" fmla="*/ 2323 h 4502150"/>
              <a:gd name="connsiteX9" fmla="*/ 5892808 w 8521696"/>
              <a:gd name="connsiteY9" fmla="*/ 0 h 4502150"/>
              <a:gd name="connsiteX10" fmla="*/ 8407387 w 8521696"/>
              <a:gd name="connsiteY10" fmla="*/ 0 h 4502150"/>
              <a:gd name="connsiteX11" fmla="*/ 8521696 w 8521696"/>
              <a:gd name="connsiteY11" fmla="*/ 114309 h 4502150"/>
              <a:gd name="connsiteX12" fmla="*/ 8521696 w 8521696"/>
              <a:gd name="connsiteY12" fmla="*/ 4387841 h 4502150"/>
              <a:gd name="connsiteX13" fmla="*/ 8407387 w 8521696"/>
              <a:gd name="connsiteY13" fmla="*/ 4502150 h 4502150"/>
              <a:gd name="connsiteX14" fmla="*/ 5892808 w 8521696"/>
              <a:gd name="connsiteY14" fmla="*/ 4502150 h 4502150"/>
              <a:gd name="connsiteX15" fmla="*/ 5881304 w 8521696"/>
              <a:gd name="connsiteY15" fmla="*/ 4499828 h 4502150"/>
              <a:gd name="connsiteX16" fmla="*/ 5869800 w 8521696"/>
              <a:gd name="connsiteY16" fmla="*/ 4502150 h 4502150"/>
              <a:gd name="connsiteX17" fmla="*/ 5518138 w 8521696"/>
              <a:gd name="connsiteY17" fmla="*/ 4502150 h 4502150"/>
              <a:gd name="connsiteX18" fmla="*/ 4550286 w 8521696"/>
              <a:gd name="connsiteY18" fmla="*/ 4502150 h 4502150"/>
              <a:gd name="connsiteX19" fmla="*/ 3355221 w 8521696"/>
              <a:gd name="connsiteY19" fmla="*/ 4502150 h 4502150"/>
              <a:gd name="connsiteX20" fmla="*/ 3003559 w 8521696"/>
              <a:gd name="connsiteY20" fmla="*/ 4502150 h 4502150"/>
              <a:gd name="connsiteX21" fmla="*/ 2628888 w 8521696"/>
              <a:gd name="connsiteY21" fmla="*/ 4502150 h 4502150"/>
              <a:gd name="connsiteX22" fmla="*/ 2035707 w 8521696"/>
              <a:gd name="connsiteY22" fmla="*/ 4502150 h 4502150"/>
              <a:gd name="connsiteX23" fmla="*/ 114309 w 8521696"/>
              <a:gd name="connsiteY23" fmla="*/ 4502150 h 4502150"/>
              <a:gd name="connsiteX24" fmla="*/ 0 w 8521696"/>
              <a:gd name="connsiteY24" fmla="*/ 4387841 h 4502150"/>
              <a:gd name="connsiteX25" fmla="*/ 0 w 8521696"/>
              <a:gd name="connsiteY25" fmla="*/ 114309 h 4502150"/>
              <a:gd name="connsiteX26" fmla="*/ 114309 w 8521696"/>
              <a:gd name="connsiteY26"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521696" h="4502150">
                <a:moveTo>
                  <a:pt x="114309" y="0"/>
                </a:moveTo>
                <a:lnTo>
                  <a:pt x="2035707" y="0"/>
                </a:lnTo>
                <a:lnTo>
                  <a:pt x="2628888" y="0"/>
                </a:lnTo>
                <a:lnTo>
                  <a:pt x="3003559" y="0"/>
                </a:lnTo>
                <a:lnTo>
                  <a:pt x="3355221" y="0"/>
                </a:lnTo>
                <a:lnTo>
                  <a:pt x="4550286" y="0"/>
                </a:lnTo>
                <a:lnTo>
                  <a:pt x="5518138" y="0"/>
                </a:lnTo>
                <a:lnTo>
                  <a:pt x="5869800" y="0"/>
                </a:lnTo>
                <a:lnTo>
                  <a:pt x="5881304" y="2323"/>
                </a:lnTo>
                <a:lnTo>
                  <a:pt x="5892808" y="0"/>
                </a:lnTo>
                <a:lnTo>
                  <a:pt x="8407387" y="0"/>
                </a:lnTo>
                <a:cubicBezTo>
                  <a:pt x="8470518" y="0"/>
                  <a:pt x="8521696" y="51178"/>
                  <a:pt x="8521696" y="114309"/>
                </a:cubicBezTo>
                <a:lnTo>
                  <a:pt x="8521696" y="4387841"/>
                </a:lnTo>
                <a:cubicBezTo>
                  <a:pt x="8521696" y="4450972"/>
                  <a:pt x="8470518" y="4502150"/>
                  <a:pt x="8407387" y="4502150"/>
                </a:cubicBezTo>
                <a:lnTo>
                  <a:pt x="5892808" y="4502150"/>
                </a:lnTo>
                <a:lnTo>
                  <a:pt x="5881304" y="4499828"/>
                </a:lnTo>
                <a:lnTo>
                  <a:pt x="5869800" y="4502150"/>
                </a:lnTo>
                <a:lnTo>
                  <a:pt x="5518138" y="4502150"/>
                </a:lnTo>
                <a:lnTo>
                  <a:pt x="4550286" y="4502150"/>
                </a:lnTo>
                <a:lnTo>
                  <a:pt x="3355221" y="4502150"/>
                </a:lnTo>
                <a:lnTo>
                  <a:pt x="3003559" y="4502150"/>
                </a:lnTo>
                <a:lnTo>
                  <a:pt x="2628888" y="4502150"/>
                </a:lnTo>
                <a:lnTo>
                  <a:pt x="2035707" y="4502150"/>
                </a:lnTo>
                <a:lnTo>
                  <a:pt x="114309" y="4502150"/>
                </a:lnTo>
                <a:cubicBezTo>
                  <a:pt x="51178" y="4502150"/>
                  <a:pt x="0" y="4450972"/>
                  <a:pt x="0" y="4387841"/>
                </a:cubicBezTo>
                <a:lnTo>
                  <a:pt x="0" y="114309"/>
                </a:lnTo>
                <a:cubicBezTo>
                  <a:pt x="0" y="51178"/>
                  <a:pt x="51178" y="0"/>
                  <a:pt x="114309" y="0"/>
                </a:cubicBez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23E02E5D-D374-415E-8CD9-A575564569E5}"/>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D58D5872-7942-5EF2-4F7B-D471C38B80D5}"/>
              </a:ext>
            </a:extLst>
          </p:cNvPr>
          <p:cNvSpPr>
            <a:spLocks noGrp="1"/>
          </p:cNvSpPr>
          <p:nvPr>
            <p:ph type="dt" sz="half" idx="12"/>
          </p:nvPr>
        </p:nvSpPr>
        <p:spPr/>
        <p:txBody>
          <a:bodyPr/>
          <a:lstStyle/>
          <a:p>
            <a:fld id="{01098E4F-09D5-4B38-A7E5-0C179C46936B}" type="datetime3">
              <a:rPr lang="en-GB" smtClean="0"/>
              <a:t>5 December, 2025</a:t>
            </a:fld>
            <a:endParaRPr lang="en-GB"/>
          </a:p>
        </p:txBody>
      </p:sp>
      <p:sp>
        <p:nvSpPr>
          <p:cNvPr id="3" name="Footer Placeholder 2">
            <a:extLst>
              <a:ext uri="{FF2B5EF4-FFF2-40B4-BE49-F238E27FC236}">
                <a16:creationId xmlns:a16="http://schemas.microsoft.com/office/drawing/2014/main" id="{BBD8C3BB-87E9-9842-03DE-4F2052D1180A}"/>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F3E3BD-B9E5-FE5A-F0B2-34BEB0206E7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116170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Quote with Image">
    <p:bg>
      <p:bgPr>
        <a:solidFill>
          <a:srgbClr val="11B67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91A8126-78BF-15C2-9CC7-E2FBE2E57CDE}"/>
              </a:ext>
            </a:extLst>
          </p:cNvPr>
          <p:cNvSpPr>
            <a:spLocks noGrp="1"/>
          </p:cNvSpPr>
          <p:nvPr>
            <p:ph type="pic" sz="quarter" idx="13"/>
          </p:nvPr>
        </p:nvSpPr>
        <p:spPr>
          <a:xfrm>
            <a:off x="0" y="0"/>
            <a:ext cx="6096000" cy="6858000"/>
          </a:xfrm>
          <a:solidFill>
            <a:schemeClr val="bg1"/>
          </a:solidFill>
        </p:spPr>
        <p:txBody>
          <a:bodyPr/>
          <a:lstStyle/>
          <a:p>
            <a:r>
              <a:rPr lang="en-US"/>
              <a:t>Click icon to add picture</a:t>
            </a:r>
            <a:endParaRPr lang="en-GB"/>
          </a:p>
        </p:txBody>
      </p:sp>
      <p:sp>
        <p:nvSpPr>
          <p:cNvPr id="10" name="Text Placeholder 9">
            <a:extLst>
              <a:ext uri="{FF2B5EF4-FFF2-40B4-BE49-F238E27FC236}">
                <a16:creationId xmlns:a16="http://schemas.microsoft.com/office/drawing/2014/main" id="{72E170A1-919C-1ED6-426B-6A5C19384073}"/>
              </a:ext>
            </a:extLst>
          </p:cNvPr>
          <p:cNvSpPr>
            <a:spLocks noGrp="1"/>
          </p:cNvSpPr>
          <p:nvPr>
            <p:ph type="body" sz="quarter" idx="14"/>
          </p:nvPr>
        </p:nvSpPr>
        <p:spPr>
          <a:xfrm>
            <a:off x="6645275" y="1774824"/>
            <a:ext cx="5148263" cy="4219575"/>
          </a:xfrm>
        </p:spPr>
        <p:txBody>
          <a:bodyPr/>
          <a:lstStyle>
            <a:lvl1pPr>
              <a:lnSpc>
                <a:spcPct val="95000"/>
              </a:lnSpc>
              <a:defRPr sz="2400">
                <a:solidFill>
                  <a:schemeClr val="tx1"/>
                </a:solidFill>
              </a:defRPr>
            </a:lvl1pPr>
            <a:lvl2pPr>
              <a:spcBef>
                <a:spcPts val="1800"/>
              </a:spcBef>
              <a:defRPr sz="1600" b="1" i="0">
                <a:solidFill>
                  <a:schemeClr val="tx1"/>
                </a:solidFill>
              </a:defRPr>
            </a:lvl2pPr>
            <a:lvl3pPr marL="0" indent="0">
              <a:buNone/>
              <a:defRPr sz="1200">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Text Placeholder 9">
            <a:extLst>
              <a:ext uri="{FF2B5EF4-FFF2-40B4-BE49-F238E27FC236}">
                <a16:creationId xmlns:a16="http://schemas.microsoft.com/office/drawing/2014/main" id="{E665900D-2933-1A3B-B4E5-B10607952514}"/>
              </a:ext>
            </a:extLst>
          </p:cNvPr>
          <p:cNvSpPr>
            <a:spLocks noGrp="1"/>
          </p:cNvSpPr>
          <p:nvPr>
            <p:ph type="body" sz="quarter" idx="15" hasCustomPrompt="1"/>
          </p:nvPr>
        </p:nvSpPr>
        <p:spPr>
          <a:xfrm>
            <a:off x="6645272" y="6135468"/>
            <a:ext cx="5148263"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86728D2-7B5E-11CF-7872-C41A8A433586}"/>
              </a:ext>
            </a:extLst>
          </p:cNvPr>
          <p:cNvSpPr>
            <a:spLocks noGrp="1"/>
          </p:cNvSpPr>
          <p:nvPr>
            <p:ph type="dt" sz="half" idx="12"/>
          </p:nvPr>
        </p:nvSpPr>
        <p:spPr/>
        <p:txBody>
          <a:bodyPr/>
          <a:lstStyle>
            <a:lvl1pPr>
              <a:defRPr>
                <a:solidFill>
                  <a:schemeClr val="bg1"/>
                </a:solidFill>
              </a:defRPr>
            </a:lvl1pPr>
          </a:lstStyle>
          <a:p>
            <a:fld id="{7AF2EC71-44F6-4B77-B563-02DEC0B04E17}" type="datetime3">
              <a:rPr lang="en-GB" smtClean="0"/>
              <a:t>5 December, 2025</a:t>
            </a:fld>
            <a:endParaRPr lang="en-GB"/>
          </a:p>
        </p:txBody>
      </p:sp>
      <p:sp>
        <p:nvSpPr>
          <p:cNvPr id="3" name="Footer Placeholder 2">
            <a:extLst>
              <a:ext uri="{FF2B5EF4-FFF2-40B4-BE49-F238E27FC236}">
                <a16:creationId xmlns:a16="http://schemas.microsoft.com/office/drawing/2014/main" id="{D6736C6A-0E0A-35C5-D86E-3260AE49F60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182E518-D9F5-9E5B-732D-7FA281E294D6}"/>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88322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Quote with Graphic">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DC8C46-78EE-78B9-C1FD-850A29E6CCD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24139" t="20420" r="37320" b="4519"/>
          <a:stretch/>
        </p:blipFill>
        <p:spPr>
          <a:xfrm flipH="1" flipV="1">
            <a:off x="6096000" y="0"/>
            <a:ext cx="6096000" cy="6857998"/>
          </a:xfrm>
          <a:prstGeom prst="rect">
            <a:avLst/>
          </a:prstGeom>
        </p:spPr>
      </p:pic>
      <p:sp>
        <p:nvSpPr>
          <p:cNvPr id="10" name="Text Placeholder 9">
            <a:extLst>
              <a:ext uri="{FF2B5EF4-FFF2-40B4-BE49-F238E27FC236}">
                <a16:creationId xmlns:a16="http://schemas.microsoft.com/office/drawing/2014/main" id="{72E170A1-919C-1ED6-426B-6A5C19384073}"/>
              </a:ext>
            </a:extLst>
          </p:cNvPr>
          <p:cNvSpPr>
            <a:spLocks noGrp="1"/>
          </p:cNvSpPr>
          <p:nvPr>
            <p:ph type="body" sz="quarter" idx="14"/>
          </p:nvPr>
        </p:nvSpPr>
        <p:spPr>
          <a:xfrm>
            <a:off x="489108" y="1502727"/>
            <a:ext cx="5148263" cy="4219575"/>
          </a:xfrm>
        </p:spPr>
        <p:txBody>
          <a:bodyPr/>
          <a:lstStyle>
            <a:lvl1pPr>
              <a:lnSpc>
                <a:spcPct val="95000"/>
              </a:lnSpc>
              <a:defRPr sz="2400">
                <a:solidFill>
                  <a:schemeClr val="tx1"/>
                </a:solidFill>
              </a:defRPr>
            </a:lvl1pPr>
            <a:lvl2pPr>
              <a:spcBef>
                <a:spcPts val="1800"/>
              </a:spcBef>
              <a:defRPr sz="1600" b="1" i="0">
                <a:solidFill>
                  <a:schemeClr val="tx1"/>
                </a:solidFill>
              </a:defRPr>
            </a:lvl2pPr>
            <a:lvl3pPr marL="0" indent="0">
              <a:buNone/>
              <a:defRPr sz="1200">
                <a:solidFill>
                  <a:schemeClr val="tx1"/>
                </a:solidFill>
              </a:defRPr>
            </a:lvl3pPr>
          </a:lstStyle>
          <a:p>
            <a:pPr lvl="0"/>
            <a:r>
              <a:rPr lang="en-US"/>
              <a:t>Click to edit Master text styles</a:t>
            </a:r>
          </a:p>
          <a:p>
            <a:pPr lvl="1"/>
            <a:r>
              <a:rPr lang="en-US"/>
              <a:t>Second level</a:t>
            </a:r>
          </a:p>
          <a:p>
            <a:pPr lvl="2"/>
            <a:r>
              <a:rPr lang="en-US"/>
              <a:t>Third level</a:t>
            </a:r>
          </a:p>
        </p:txBody>
      </p:sp>
      <p:sp>
        <p:nvSpPr>
          <p:cNvPr id="7" name="Text Placeholder 9">
            <a:extLst>
              <a:ext uri="{FF2B5EF4-FFF2-40B4-BE49-F238E27FC236}">
                <a16:creationId xmlns:a16="http://schemas.microsoft.com/office/drawing/2014/main" id="{5A7562EC-918E-EFF9-31DE-6468899B503B}"/>
              </a:ext>
            </a:extLst>
          </p:cNvPr>
          <p:cNvSpPr>
            <a:spLocks noGrp="1"/>
          </p:cNvSpPr>
          <p:nvPr>
            <p:ph type="body" sz="quarter" idx="15" hasCustomPrompt="1"/>
          </p:nvPr>
        </p:nvSpPr>
        <p:spPr>
          <a:xfrm>
            <a:off x="382586" y="6135468"/>
            <a:ext cx="5254785"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486728D2-7B5E-11CF-7872-C41A8A433586}"/>
              </a:ext>
            </a:extLst>
          </p:cNvPr>
          <p:cNvSpPr>
            <a:spLocks noGrp="1"/>
          </p:cNvSpPr>
          <p:nvPr>
            <p:ph type="dt" sz="half" idx="12"/>
          </p:nvPr>
        </p:nvSpPr>
        <p:spPr/>
        <p:txBody>
          <a:bodyPr/>
          <a:lstStyle/>
          <a:p>
            <a:fld id="{5C2E20A6-D279-487E-B6BA-8D3D5A5C6646}" type="datetime3">
              <a:rPr lang="en-GB" smtClean="0"/>
              <a:t>5 December, 2025</a:t>
            </a:fld>
            <a:endParaRPr lang="en-GB"/>
          </a:p>
        </p:txBody>
      </p:sp>
      <p:sp>
        <p:nvSpPr>
          <p:cNvPr id="3" name="Footer Placeholder 2">
            <a:extLst>
              <a:ext uri="{FF2B5EF4-FFF2-40B4-BE49-F238E27FC236}">
                <a16:creationId xmlns:a16="http://schemas.microsoft.com/office/drawing/2014/main" id="{D6736C6A-0E0A-35C5-D86E-3260AE49F60B}"/>
              </a:ext>
            </a:extLst>
          </p:cNvPr>
          <p:cNvSpPr>
            <a:spLocks noGrp="1"/>
          </p:cNvSpPr>
          <p:nvPr>
            <p:ph type="ftr" sz="quarter" idx="10"/>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5182E518-D9F5-9E5B-732D-7FA281E294D6}"/>
              </a:ext>
            </a:extLst>
          </p:cNvPr>
          <p:cNvSpPr>
            <a:spLocks noGrp="1"/>
          </p:cNvSpPr>
          <p:nvPr>
            <p:ph type="sldNum" sz="quarter" idx="11"/>
          </p:nvPr>
        </p:nvSpPr>
        <p:spPr/>
        <p:txBody>
          <a:bodyPr/>
          <a:lstStyle>
            <a:lvl1pPr>
              <a:defRPr>
                <a:solidFill>
                  <a:schemeClr val="bg1"/>
                </a:solidFill>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222283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59939A4-CBAD-3014-493A-DEA795D37320}"/>
              </a:ext>
            </a:extLst>
          </p:cNvPr>
          <p:cNvSpPr>
            <a:spLocks noGrp="1"/>
          </p:cNvSpPr>
          <p:nvPr>
            <p:ph type="pic" sz="quarter" idx="13"/>
          </p:nvPr>
        </p:nvSpPr>
        <p:spPr>
          <a:xfrm>
            <a:off x="0" y="0"/>
            <a:ext cx="12192000" cy="2672557"/>
          </a:xfrm>
        </p:spPr>
        <p:txBody>
          <a:bodyPr/>
          <a:lstStyle/>
          <a:p>
            <a:r>
              <a:rPr lang="en-US"/>
              <a:t>Click icon to add picture</a:t>
            </a:r>
            <a:endParaRPr lang="en-GB"/>
          </a:p>
        </p:txBody>
      </p:sp>
      <p:sp>
        <p:nvSpPr>
          <p:cNvPr id="16" name="Text Placeholder 15">
            <a:extLst>
              <a:ext uri="{FF2B5EF4-FFF2-40B4-BE49-F238E27FC236}">
                <a16:creationId xmlns:a16="http://schemas.microsoft.com/office/drawing/2014/main" id="{2D508739-B06E-08EF-E5F0-E4E96E4FD38A}"/>
              </a:ext>
            </a:extLst>
          </p:cNvPr>
          <p:cNvSpPr>
            <a:spLocks noGrp="1"/>
          </p:cNvSpPr>
          <p:nvPr>
            <p:ph type="body" sz="quarter" idx="14"/>
          </p:nvPr>
        </p:nvSpPr>
        <p:spPr>
          <a:xfrm>
            <a:off x="382588" y="3142527"/>
            <a:ext cx="11410950" cy="2950298"/>
          </a:xfrm>
        </p:spPr>
        <p:txBody>
          <a:bodyPr anchor="ctr"/>
          <a:lstStyle>
            <a:lvl1pPr algn="ctr">
              <a:lnSpc>
                <a:spcPct val="90000"/>
              </a:lnSpc>
              <a:spcAft>
                <a:spcPts val="600"/>
              </a:spcAft>
              <a:defRPr sz="5400">
                <a:solidFill>
                  <a:schemeClr val="tx1"/>
                </a:solidFill>
              </a:defRPr>
            </a:lvl1pPr>
            <a:lvl2pPr algn="ctr">
              <a:defRPr sz="2400">
                <a:solidFill>
                  <a:schemeClr val="tx1"/>
                </a:solidFill>
              </a:defRPr>
            </a:lvl2pPr>
            <a:lvl3pPr marL="0" indent="0">
              <a:buNone/>
              <a:defRPr/>
            </a:lvl3pPr>
          </a:lstStyle>
          <a:p>
            <a:pPr lvl="0"/>
            <a:r>
              <a:rPr lang="en-US"/>
              <a:t>Click to edit Master text styles</a:t>
            </a:r>
          </a:p>
          <a:p>
            <a:pPr lvl="1"/>
            <a:r>
              <a:rPr lang="en-US"/>
              <a:t>Second level</a:t>
            </a:r>
          </a:p>
        </p:txBody>
      </p:sp>
      <p:sp>
        <p:nvSpPr>
          <p:cNvPr id="6" name="Text Placeholder 9">
            <a:extLst>
              <a:ext uri="{FF2B5EF4-FFF2-40B4-BE49-F238E27FC236}">
                <a16:creationId xmlns:a16="http://schemas.microsoft.com/office/drawing/2014/main" id="{E71A8715-80D0-471B-3625-626F9594F6C9}"/>
              </a:ext>
            </a:extLst>
          </p:cNvPr>
          <p:cNvSpPr>
            <a:spLocks noGrp="1"/>
          </p:cNvSpPr>
          <p:nvPr>
            <p:ph type="body" sz="quarter" idx="15"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9862227F-189B-731B-D249-97731B04F81A}"/>
              </a:ext>
            </a:extLst>
          </p:cNvPr>
          <p:cNvSpPr>
            <a:spLocks noGrp="1"/>
          </p:cNvSpPr>
          <p:nvPr>
            <p:ph type="dt" sz="half" idx="12"/>
          </p:nvPr>
        </p:nvSpPr>
        <p:spPr/>
        <p:txBody>
          <a:bodyPr/>
          <a:lstStyle/>
          <a:p>
            <a:fld id="{F5DC3E29-FC20-4DEC-A8BD-FE3435ABEA57}" type="datetime3">
              <a:rPr lang="en-GB" smtClean="0"/>
              <a:t>5 December, 2025</a:t>
            </a:fld>
            <a:endParaRPr lang="en-GB"/>
          </a:p>
        </p:txBody>
      </p:sp>
      <p:sp>
        <p:nvSpPr>
          <p:cNvPr id="3" name="Footer Placeholder 2">
            <a:extLst>
              <a:ext uri="{FF2B5EF4-FFF2-40B4-BE49-F238E27FC236}">
                <a16:creationId xmlns:a16="http://schemas.microsoft.com/office/drawing/2014/main" id="{13E88FD4-F5DD-A610-093E-03694871DD5E}"/>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DC8499C-4A44-CD9E-8887-D84ED74B6E44}"/>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429165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Team Slide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47BD6-4A11-9F32-72F9-AE936CA9601E}"/>
              </a:ext>
            </a:extLst>
          </p:cNvPr>
          <p:cNvSpPr>
            <a:spLocks noGrp="1"/>
          </p:cNvSpPr>
          <p:nvPr>
            <p:ph type="title"/>
          </p:nvPr>
        </p:nvSpPr>
        <p:spPr/>
        <p:txBody>
          <a:bodyPr vert="horz"/>
          <a:lstStyle/>
          <a:p>
            <a:r>
              <a:rPr lang="en-US"/>
              <a:t>Click to edit Master title style</a:t>
            </a:r>
            <a:endParaRPr lang="en-GB"/>
          </a:p>
        </p:txBody>
      </p:sp>
      <p:sp>
        <p:nvSpPr>
          <p:cNvPr id="13" name="Picture Placeholder 37">
            <a:extLst>
              <a:ext uri="{FF2B5EF4-FFF2-40B4-BE49-F238E27FC236}">
                <a16:creationId xmlns:a16="http://schemas.microsoft.com/office/drawing/2014/main" id="{150D1E2A-826F-D064-34F1-0BCE767BAF69}"/>
              </a:ext>
            </a:extLst>
          </p:cNvPr>
          <p:cNvSpPr>
            <a:spLocks noGrp="1"/>
          </p:cNvSpPr>
          <p:nvPr>
            <p:ph type="pic" sz="quarter" idx="35"/>
          </p:nvPr>
        </p:nvSpPr>
        <p:spPr>
          <a:xfrm>
            <a:off x="382586" y="1592263"/>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2" name="Text Placeholder 21">
            <a:extLst>
              <a:ext uri="{FF2B5EF4-FFF2-40B4-BE49-F238E27FC236}">
                <a16:creationId xmlns:a16="http://schemas.microsoft.com/office/drawing/2014/main" id="{6A65733F-76D0-12BA-0735-F3BEB13050A9}"/>
              </a:ext>
            </a:extLst>
          </p:cNvPr>
          <p:cNvSpPr>
            <a:spLocks noGrp="1"/>
          </p:cNvSpPr>
          <p:nvPr>
            <p:ph type="body" sz="quarter" idx="40"/>
          </p:nvPr>
        </p:nvSpPr>
        <p:spPr>
          <a:xfrm>
            <a:off x="2453364" y="1592263"/>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32">
            <a:extLst>
              <a:ext uri="{FF2B5EF4-FFF2-40B4-BE49-F238E27FC236}">
                <a16:creationId xmlns:a16="http://schemas.microsoft.com/office/drawing/2014/main" id="{52808A5B-AD54-4EA5-6C44-777412FD7C5E}"/>
              </a:ext>
            </a:extLst>
          </p:cNvPr>
          <p:cNvSpPr>
            <a:spLocks noGrp="1"/>
          </p:cNvSpPr>
          <p:nvPr>
            <p:ph type="pic" sz="quarter" idx="32"/>
          </p:nvPr>
        </p:nvSpPr>
        <p:spPr>
          <a:xfrm>
            <a:off x="6180139" y="1592263"/>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4" name="Text Placeholder 23">
            <a:extLst>
              <a:ext uri="{FF2B5EF4-FFF2-40B4-BE49-F238E27FC236}">
                <a16:creationId xmlns:a16="http://schemas.microsoft.com/office/drawing/2014/main" id="{A9703B0E-7A0D-BEEF-B418-7E873031C632}"/>
              </a:ext>
            </a:extLst>
          </p:cNvPr>
          <p:cNvSpPr>
            <a:spLocks noGrp="1"/>
          </p:cNvSpPr>
          <p:nvPr>
            <p:ph type="body" sz="quarter" idx="42"/>
          </p:nvPr>
        </p:nvSpPr>
        <p:spPr>
          <a:xfrm>
            <a:off x="8237792" y="1592263"/>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41">
            <a:extLst>
              <a:ext uri="{FF2B5EF4-FFF2-40B4-BE49-F238E27FC236}">
                <a16:creationId xmlns:a16="http://schemas.microsoft.com/office/drawing/2014/main" id="{5F13C956-C13D-9712-7D6C-F3AE7F742D8E}"/>
              </a:ext>
            </a:extLst>
          </p:cNvPr>
          <p:cNvSpPr>
            <a:spLocks noGrp="1"/>
          </p:cNvSpPr>
          <p:nvPr>
            <p:ph type="pic" sz="quarter" idx="39"/>
          </p:nvPr>
        </p:nvSpPr>
        <p:spPr>
          <a:xfrm>
            <a:off x="382586" y="3916844"/>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3" name="Text Placeholder 22">
            <a:extLst>
              <a:ext uri="{FF2B5EF4-FFF2-40B4-BE49-F238E27FC236}">
                <a16:creationId xmlns:a16="http://schemas.microsoft.com/office/drawing/2014/main" id="{69CA158F-8B43-966B-6008-4D0D51BBE85B}"/>
              </a:ext>
            </a:extLst>
          </p:cNvPr>
          <p:cNvSpPr>
            <a:spLocks noGrp="1"/>
          </p:cNvSpPr>
          <p:nvPr>
            <p:ph type="body" sz="quarter" idx="41"/>
          </p:nvPr>
        </p:nvSpPr>
        <p:spPr>
          <a:xfrm>
            <a:off x="2453364" y="3916844"/>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39">
            <a:extLst>
              <a:ext uri="{FF2B5EF4-FFF2-40B4-BE49-F238E27FC236}">
                <a16:creationId xmlns:a16="http://schemas.microsoft.com/office/drawing/2014/main" id="{594C5E70-2EB4-5177-332C-384ACAF9D1A8}"/>
              </a:ext>
            </a:extLst>
          </p:cNvPr>
          <p:cNvSpPr>
            <a:spLocks noGrp="1"/>
          </p:cNvSpPr>
          <p:nvPr>
            <p:ph type="pic" sz="quarter" idx="37"/>
          </p:nvPr>
        </p:nvSpPr>
        <p:spPr>
          <a:xfrm>
            <a:off x="6180139" y="3916844"/>
            <a:ext cx="2070779" cy="2171132"/>
          </a:xfrm>
          <a:custGeom>
            <a:avLst/>
            <a:gdLst>
              <a:gd name="connsiteX0" fmla="*/ 114309 w 2070779"/>
              <a:gd name="connsiteY0" fmla="*/ 0 h 2171132"/>
              <a:gd name="connsiteX1" fmla="*/ 992133 w 2070779"/>
              <a:gd name="connsiteY1" fmla="*/ 0 h 2171132"/>
              <a:gd name="connsiteX2" fmla="*/ 2070779 w 2070779"/>
              <a:gd name="connsiteY2" fmla="*/ 0 h 2171132"/>
              <a:gd name="connsiteX3" fmla="*/ 2070779 w 2070779"/>
              <a:gd name="connsiteY3" fmla="*/ 2171132 h 2171132"/>
              <a:gd name="connsiteX4" fmla="*/ 992133 w 2070779"/>
              <a:gd name="connsiteY4" fmla="*/ 2171132 h 2171132"/>
              <a:gd name="connsiteX5" fmla="*/ 114309 w 2070779"/>
              <a:gd name="connsiteY5" fmla="*/ 2171132 h 2171132"/>
              <a:gd name="connsiteX6" fmla="*/ 0 w 2070779"/>
              <a:gd name="connsiteY6" fmla="*/ 2056823 h 2171132"/>
              <a:gd name="connsiteX7" fmla="*/ 0 w 2070779"/>
              <a:gd name="connsiteY7" fmla="*/ 1518160 h 2171132"/>
              <a:gd name="connsiteX8" fmla="*/ 0 w 2070779"/>
              <a:gd name="connsiteY8" fmla="*/ 652972 h 2171132"/>
              <a:gd name="connsiteX9" fmla="*/ 0 w 2070779"/>
              <a:gd name="connsiteY9" fmla="*/ 114309 h 2171132"/>
              <a:gd name="connsiteX10" fmla="*/ 114309 w 2070779"/>
              <a:gd name="connsiteY10" fmla="*/ 0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0779" h="2171132">
                <a:moveTo>
                  <a:pt x="114309" y="0"/>
                </a:moveTo>
                <a:lnTo>
                  <a:pt x="992133" y="0"/>
                </a:lnTo>
                <a:lnTo>
                  <a:pt x="2070779" y="0"/>
                </a:lnTo>
                <a:lnTo>
                  <a:pt x="2070779" y="2171132"/>
                </a:lnTo>
                <a:lnTo>
                  <a:pt x="992133" y="2171132"/>
                </a:lnTo>
                <a:lnTo>
                  <a:pt x="114309" y="2171132"/>
                </a:lnTo>
                <a:cubicBezTo>
                  <a:pt x="51178" y="2171132"/>
                  <a:pt x="0" y="2119954"/>
                  <a:pt x="0" y="2056823"/>
                </a:cubicBezTo>
                <a:lnTo>
                  <a:pt x="0" y="1518160"/>
                </a:lnTo>
                <a:lnTo>
                  <a:pt x="0" y="652972"/>
                </a:lnTo>
                <a:lnTo>
                  <a:pt x="0" y="114309"/>
                </a:lnTo>
                <a:cubicBezTo>
                  <a:pt x="0" y="51178"/>
                  <a:pt x="51178" y="0"/>
                  <a:pt x="114309" y="0"/>
                </a:cubicBezTo>
                <a:close/>
              </a:path>
            </a:pathLst>
          </a:custGeom>
        </p:spPr>
        <p:txBody>
          <a:bodyPr wrap="square">
            <a:noAutofit/>
          </a:bodyPr>
          <a:lstStyle/>
          <a:p>
            <a:r>
              <a:rPr lang="en-US"/>
              <a:t>Click icon to add picture</a:t>
            </a:r>
            <a:endParaRPr lang="en-GB"/>
          </a:p>
        </p:txBody>
      </p:sp>
      <p:sp>
        <p:nvSpPr>
          <p:cNvPr id="25" name="Text Placeholder 24">
            <a:extLst>
              <a:ext uri="{FF2B5EF4-FFF2-40B4-BE49-F238E27FC236}">
                <a16:creationId xmlns:a16="http://schemas.microsoft.com/office/drawing/2014/main" id="{7B113870-20C7-72CF-9D6C-AC28C03DDDB5}"/>
              </a:ext>
            </a:extLst>
          </p:cNvPr>
          <p:cNvSpPr>
            <a:spLocks noGrp="1"/>
          </p:cNvSpPr>
          <p:nvPr>
            <p:ph type="body" sz="quarter" idx="43"/>
          </p:nvPr>
        </p:nvSpPr>
        <p:spPr>
          <a:xfrm>
            <a:off x="8237792" y="3916844"/>
            <a:ext cx="3555743" cy="2171132"/>
          </a:xfrm>
          <a:custGeom>
            <a:avLst/>
            <a:gdLst>
              <a:gd name="connsiteX0" fmla="*/ 0 w 3555743"/>
              <a:gd name="connsiteY0" fmla="*/ 0 h 2171132"/>
              <a:gd name="connsiteX1" fmla="*/ 13122 w 3555743"/>
              <a:gd name="connsiteY1" fmla="*/ 0 h 2171132"/>
              <a:gd name="connsiteX2" fmla="*/ 558109 w 3555743"/>
              <a:gd name="connsiteY2" fmla="*/ 0 h 2171132"/>
              <a:gd name="connsiteX3" fmla="*/ 571231 w 3555743"/>
              <a:gd name="connsiteY3" fmla="*/ 0 h 2171132"/>
              <a:gd name="connsiteX4" fmla="*/ 913733 w 3555743"/>
              <a:gd name="connsiteY4" fmla="*/ 0 h 2171132"/>
              <a:gd name="connsiteX5" fmla="*/ 926855 w 3555743"/>
              <a:gd name="connsiteY5" fmla="*/ 0 h 2171132"/>
              <a:gd name="connsiteX6" fmla="*/ 1435933 w 3555743"/>
              <a:gd name="connsiteY6" fmla="*/ 0 h 2171132"/>
              <a:gd name="connsiteX7" fmla="*/ 1449055 w 3555743"/>
              <a:gd name="connsiteY7" fmla="*/ 0 h 2171132"/>
              <a:gd name="connsiteX8" fmla="*/ 3428312 w 3555743"/>
              <a:gd name="connsiteY8" fmla="*/ 0 h 2171132"/>
              <a:gd name="connsiteX9" fmla="*/ 3441434 w 3555743"/>
              <a:gd name="connsiteY9" fmla="*/ 0 h 2171132"/>
              <a:gd name="connsiteX10" fmla="*/ 3555743 w 3555743"/>
              <a:gd name="connsiteY10" fmla="*/ 114309 h 2171132"/>
              <a:gd name="connsiteX11" fmla="*/ 3555743 w 3555743"/>
              <a:gd name="connsiteY11" fmla="*/ 652972 h 2171132"/>
              <a:gd name="connsiteX12" fmla="*/ 3555743 w 3555743"/>
              <a:gd name="connsiteY12" fmla="*/ 1518160 h 2171132"/>
              <a:gd name="connsiteX13" fmla="*/ 3555743 w 3555743"/>
              <a:gd name="connsiteY13" fmla="*/ 2056823 h 2171132"/>
              <a:gd name="connsiteX14" fmla="*/ 3441434 w 3555743"/>
              <a:gd name="connsiteY14" fmla="*/ 2171132 h 2171132"/>
              <a:gd name="connsiteX15" fmla="*/ 3428312 w 3555743"/>
              <a:gd name="connsiteY15" fmla="*/ 2171132 h 2171132"/>
              <a:gd name="connsiteX16" fmla="*/ 1449055 w 3555743"/>
              <a:gd name="connsiteY16" fmla="*/ 2171132 h 2171132"/>
              <a:gd name="connsiteX17" fmla="*/ 1435933 w 3555743"/>
              <a:gd name="connsiteY17" fmla="*/ 2171132 h 2171132"/>
              <a:gd name="connsiteX18" fmla="*/ 926855 w 3555743"/>
              <a:gd name="connsiteY18" fmla="*/ 2171132 h 2171132"/>
              <a:gd name="connsiteX19" fmla="*/ 913733 w 3555743"/>
              <a:gd name="connsiteY19" fmla="*/ 2171132 h 2171132"/>
              <a:gd name="connsiteX20" fmla="*/ 571231 w 3555743"/>
              <a:gd name="connsiteY20" fmla="*/ 2171132 h 2171132"/>
              <a:gd name="connsiteX21" fmla="*/ 558109 w 3555743"/>
              <a:gd name="connsiteY21" fmla="*/ 2171132 h 2171132"/>
              <a:gd name="connsiteX22" fmla="*/ 13122 w 3555743"/>
              <a:gd name="connsiteY22" fmla="*/ 2171132 h 2171132"/>
              <a:gd name="connsiteX23" fmla="*/ 0 w 3555743"/>
              <a:gd name="connsiteY23" fmla="*/ 2171132 h 2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5743" h="2171132">
                <a:moveTo>
                  <a:pt x="0" y="0"/>
                </a:moveTo>
                <a:lnTo>
                  <a:pt x="13122" y="0"/>
                </a:lnTo>
                <a:lnTo>
                  <a:pt x="558109" y="0"/>
                </a:lnTo>
                <a:lnTo>
                  <a:pt x="571231" y="0"/>
                </a:lnTo>
                <a:lnTo>
                  <a:pt x="913733" y="0"/>
                </a:lnTo>
                <a:lnTo>
                  <a:pt x="926855" y="0"/>
                </a:lnTo>
                <a:lnTo>
                  <a:pt x="1435933" y="0"/>
                </a:lnTo>
                <a:lnTo>
                  <a:pt x="1449055" y="0"/>
                </a:lnTo>
                <a:lnTo>
                  <a:pt x="3428312" y="0"/>
                </a:lnTo>
                <a:lnTo>
                  <a:pt x="3441434" y="0"/>
                </a:lnTo>
                <a:cubicBezTo>
                  <a:pt x="3504565" y="0"/>
                  <a:pt x="3555743" y="51178"/>
                  <a:pt x="3555743" y="114309"/>
                </a:cubicBezTo>
                <a:lnTo>
                  <a:pt x="3555743" y="652972"/>
                </a:lnTo>
                <a:lnTo>
                  <a:pt x="3555743" y="1518160"/>
                </a:lnTo>
                <a:lnTo>
                  <a:pt x="3555743" y="2056823"/>
                </a:lnTo>
                <a:cubicBezTo>
                  <a:pt x="3555743" y="2119954"/>
                  <a:pt x="3504565" y="2171132"/>
                  <a:pt x="3441434" y="2171132"/>
                </a:cubicBezTo>
                <a:lnTo>
                  <a:pt x="3428312" y="2171132"/>
                </a:lnTo>
                <a:lnTo>
                  <a:pt x="1449055" y="2171132"/>
                </a:lnTo>
                <a:lnTo>
                  <a:pt x="1435933" y="2171132"/>
                </a:lnTo>
                <a:lnTo>
                  <a:pt x="926855" y="2171132"/>
                </a:lnTo>
                <a:lnTo>
                  <a:pt x="913733" y="2171132"/>
                </a:lnTo>
                <a:lnTo>
                  <a:pt x="571231" y="2171132"/>
                </a:lnTo>
                <a:lnTo>
                  <a:pt x="558109" y="2171132"/>
                </a:lnTo>
                <a:lnTo>
                  <a:pt x="13122" y="2171132"/>
                </a:lnTo>
                <a:lnTo>
                  <a:pt x="0" y="2171132"/>
                </a:lnTo>
                <a:close/>
              </a:path>
            </a:pathLst>
          </a:custGeom>
          <a:solidFill>
            <a:srgbClr val="6CF479"/>
          </a:solidFill>
        </p:spPr>
        <p:txBody>
          <a:bodyPr wrap="square" lIns="216000" tIns="144000" rIns="25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a:extLst>
              <a:ext uri="{FF2B5EF4-FFF2-40B4-BE49-F238E27FC236}">
                <a16:creationId xmlns:a16="http://schemas.microsoft.com/office/drawing/2014/main" id="{A56F15F3-E97E-9CD7-6F64-4988071CA2C0}"/>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BFB2118D-60F4-31FC-0AB3-678D6FA31079}"/>
              </a:ext>
            </a:extLst>
          </p:cNvPr>
          <p:cNvSpPr>
            <a:spLocks noGrp="1"/>
          </p:cNvSpPr>
          <p:nvPr>
            <p:ph type="dt" sz="half" idx="12"/>
          </p:nvPr>
        </p:nvSpPr>
        <p:spPr/>
        <p:txBody>
          <a:bodyPr/>
          <a:lstStyle/>
          <a:p>
            <a:fld id="{9509AC16-4597-4703-88D6-BCD7199FEFD1}" type="datetime3">
              <a:rPr lang="en-GB" smtClean="0"/>
              <a:t>5 December, 2025</a:t>
            </a:fld>
            <a:endParaRPr lang="en-GB"/>
          </a:p>
        </p:txBody>
      </p:sp>
      <p:sp>
        <p:nvSpPr>
          <p:cNvPr id="3" name="Footer Placeholder 2">
            <a:extLst>
              <a:ext uri="{FF2B5EF4-FFF2-40B4-BE49-F238E27FC236}">
                <a16:creationId xmlns:a16="http://schemas.microsoft.com/office/drawing/2014/main" id="{D286D568-7CEA-C139-7A13-832404EF039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18DCC29F-8FFE-5F4A-B7D5-79EFC7AEE05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308783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8C5546-A39E-4455-2571-16F2A048D7E4}"/>
              </a:ext>
            </a:extLst>
          </p:cNvPr>
          <p:cNvSpPr>
            <a:spLocks noGrp="1"/>
          </p:cNvSpPr>
          <p:nvPr>
            <p:ph type="title"/>
          </p:nvPr>
        </p:nvSpPr>
        <p:spPr/>
        <p:txBody>
          <a:bodyPr vert="horz"/>
          <a:lstStyle/>
          <a:p>
            <a:r>
              <a:rPr lang="en-US"/>
              <a:t>Click to edit Master title style</a:t>
            </a:r>
            <a:endParaRPr lang="en-GB"/>
          </a:p>
        </p:txBody>
      </p:sp>
      <p:sp>
        <p:nvSpPr>
          <p:cNvPr id="2" name="Text Placeholder 9">
            <a:extLst>
              <a:ext uri="{FF2B5EF4-FFF2-40B4-BE49-F238E27FC236}">
                <a16:creationId xmlns:a16="http://schemas.microsoft.com/office/drawing/2014/main" id="{1FF9F1A9-55B6-0E82-104A-5B94805416EE}"/>
              </a:ext>
            </a:extLst>
          </p:cNvPr>
          <p:cNvSpPr>
            <a:spLocks noGrp="1"/>
          </p:cNvSpPr>
          <p:nvPr>
            <p:ph type="body" sz="quarter" idx="14" hasCustomPrompt="1"/>
          </p:nvPr>
        </p:nvSpPr>
        <p:spPr>
          <a:xfrm>
            <a:off x="382586" y="6135468"/>
            <a:ext cx="11410949" cy="324000"/>
          </a:xfrm>
        </p:spPr>
        <p:txBody>
          <a:bodyPr/>
          <a:lstStyle>
            <a:lvl1pPr>
              <a:spcBef>
                <a:spcPts val="0"/>
              </a:spcBef>
              <a:defRPr sz="800" b="0"/>
            </a:lvl1pPr>
          </a:lstStyle>
          <a:p>
            <a:pPr lvl="0"/>
            <a:r>
              <a:rPr lang="en-US"/>
              <a:t>Insert source text here</a:t>
            </a:r>
          </a:p>
        </p:txBody>
      </p:sp>
      <p:sp>
        <p:nvSpPr>
          <p:cNvPr id="5" name="Date Placeholder 4">
            <a:extLst>
              <a:ext uri="{FF2B5EF4-FFF2-40B4-BE49-F238E27FC236}">
                <a16:creationId xmlns:a16="http://schemas.microsoft.com/office/drawing/2014/main" id="{8AED2CF2-CD99-C1DB-2A62-8446381EA2DF}"/>
              </a:ext>
            </a:extLst>
          </p:cNvPr>
          <p:cNvSpPr>
            <a:spLocks noGrp="1"/>
          </p:cNvSpPr>
          <p:nvPr>
            <p:ph type="dt" sz="half" idx="12"/>
          </p:nvPr>
        </p:nvSpPr>
        <p:spPr/>
        <p:txBody>
          <a:bodyPr/>
          <a:lstStyle/>
          <a:p>
            <a:fld id="{9249EE7A-E6BC-4FBE-8E14-1F37D5EBA44D}" type="datetime3">
              <a:rPr lang="en-GB" smtClean="0"/>
              <a:t>5 December, 2025</a:t>
            </a:fld>
            <a:endParaRPr lang="en-GB"/>
          </a:p>
        </p:txBody>
      </p:sp>
      <p:sp>
        <p:nvSpPr>
          <p:cNvPr id="3" name="Footer Placeholder 2">
            <a:extLst>
              <a:ext uri="{FF2B5EF4-FFF2-40B4-BE49-F238E27FC236}">
                <a16:creationId xmlns:a16="http://schemas.microsoft.com/office/drawing/2014/main" id="{FD2A3DC0-23A8-A34B-CD6D-B5D3224767F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3BA19DE-A067-6F27-A722-CF9B56934DC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97434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AED2CF2-CD99-C1DB-2A62-8446381EA2DF}"/>
              </a:ext>
            </a:extLst>
          </p:cNvPr>
          <p:cNvSpPr>
            <a:spLocks noGrp="1"/>
          </p:cNvSpPr>
          <p:nvPr>
            <p:ph type="dt" sz="half" idx="12"/>
          </p:nvPr>
        </p:nvSpPr>
        <p:spPr/>
        <p:txBody>
          <a:bodyPr/>
          <a:lstStyle/>
          <a:p>
            <a:fld id="{FDC861E3-BD6E-4D0A-8AE3-00F2F1CB5275}" type="datetime3">
              <a:rPr lang="en-GB" smtClean="0"/>
              <a:t>5 December, 2025</a:t>
            </a:fld>
            <a:endParaRPr lang="en-GB"/>
          </a:p>
        </p:txBody>
      </p:sp>
      <p:sp>
        <p:nvSpPr>
          <p:cNvPr id="3" name="Footer Placeholder 2">
            <a:extLst>
              <a:ext uri="{FF2B5EF4-FFF2-40B4-BE49-F238E27FC236}">
                <a16:creationId xmlns:a16="http://schemas.microsoft.com/office/drawing/2014/main" id="{FD2A3DC0-23A8-A34B-CD6D-B5D3224767F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3BA19DE-A067-6F27-A722-CF9B56934DC2}"/>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67821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End of templat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C8431F2-26FF-BA34-F186-7F81A22EDED9}"/>
              </a:ext>
            </a:extLst>
          </p:cNvPr>
          <p:cNvSpPr txBox="1"/>
          <p:nvPr/>
        </p:nvSpPr>
        <p:spPr>
          <a:xfrm>
            <a:off x="3337699" y="1251945"/>
            <a:ext cx="5516574" cy="1670522"/>
          </a:xfrm>
          <a:prstGeom prst="rect">
            <a:avLst/>
          </a:prstGeom>
          <a:noFill/>
        </p:spPr>
        <p:txBody>
          <a:bodyPr wrap="none" lIns="0" tIns="0" rIns="0" bIns="0" rtlCol="0" anchor="b">
            <a:spAutoFit/>
          </a:bodyPr>
          <a:lstStyle/>
          <a:p>
            <a:pPr marL="0" marR="0" indent="0" algn="ctr" defTabSz="914400" rtl="0" eaLnBrk="1" fontAlgn="auto" latinLnBrk="0" hangingPunct="1">
              <a:lnSpc>
                <a:spcPct val="120000"/>
              </a:lnSpc>
              <a:spcBef>
                <a:spcPts val="200"/>
              </a:spcBef>
              <a:spcAft>
                <a:spcPts val="0"/>
              </a:spcAft>
              <a:buClrTx/>
              <a:buSzTx/>
              <a:buFont typeface="Tenorite" panose="020B0604020202020204" pitchFamily="34" charset="0"/>
              <a:buNone/>
              <a:tabLst/>
            </a:pPr>
            <a:r>
              <a:rPr kumimoji="0" lang="en-US" sz="9600" b="1" i="0" u="none" strike="noStrike" kern="0" cap="none" spc="-10" normalizeH="0" baseline="0" noProof="0">
                <a:ln>
                  <a:noFill/>
                </a:ln>
                <a:solidFill>
                  <a:schemeClr val="accent1"/>
                </a:solidFill>
                <a:effectLst/>
                <a:uLnTx/>
                <a:uFillTx/>
                <a:latin typeface="+mj-lt"/>
                <a:ea typeface="+mn-ea"/>
                <a:cs typeface="+mn-cs"/>
              </a:rPr>
              <a:t>WARNING</a:t>
            </a:r>
          </a:p>
        </p:txBody>
      </p:sp>
      <p:sp>
        <p:nvSpPr>
          <p:cNvPr id="7" name="TextBox 6">
            <a:extLst>
              <a:ext uri="{FF2B5EF4-FFF2-40B4-BE49-F238E27FC236}">
                <a16:creationId xmlns:a16="http://schemas.microsoft.com/office/drawing/2014/main" id="{CFF2AB9E-8D3E-6B03-5233-1D8FA4408646}"/>
              </a:ext>
            </a:extLst>
          </p:cNvPr>
          <p:cNvSpPr txBox="1"/>
          <p:nvPr/>
        </p:nvSpPr>
        <p:spPr>
          <a:xfrm>
            <a:off x="2002891" y="2963458"/>
            <a:ext cx="8186215" cy="1477328"/>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200"/>
              </a:spcBef>
              <a:spcAft>
                <a:spcPts val="0"/>
              </a:spcAft>
              <a:buClrTx/>
              <a:buSzTx/>
              <a:buFont typeface="Tenorite" panose="020B0604020202020204" pitchFamily="34" charset="0"/>
              <a:buNone/>
              <a:tabLst/>
            </a:pPr>
            <a:r>
              <a:rPr kumimoji="0" lang="en-US" sz="4800" b="1" i="0" u="none" strike="noStrike" kern="0" cap="none" spc="-10" normalizeH="0" baseline="0" noProof="0">
                <a:ln>
                  <a:noFill/>
                </a:ln>
                <a:solidFill>
                  <a:schemeClr val="tx2"/>
                </a:solidFill>
                <a:effectLst/>
                <a:uLnTx/>
                <a:uFillTx/>
                <a:latin typeface="+mn-lt"/>
                <a:ea typeface="+mn-ea"/>
                <a:cs typeface="+mn-cs"/>
              </a:rPr>
              <a:t>Do not use this slide or any </a:t>
            </a:r>
            <a:br>
              <a:rPr kumimoji="0" lang="en-US" sz="4800" b="1" i="0" u="none" strike="noStrike" kern="0" cap="none" spc="-10" normalizeH="0" baseline="0" noProof="0">
                <a:ln>
                  <a:noFill/>
                </a:ln>
                <a:solidFill>
                  <a:schemeClr val="tx2"/>
                </a:solidFill>
                <a:effectLst/>
                <a:uLnTx/>
                <a:uFillTx/>
                <a:latin typeface="+mn-lt"/>
                <a:ea typeface="+mn-ea"/>
                <a:cs typeface="+mn-cs"/>
              </a:rPr>
            </a:br>
            <a:r>
              <a:rPr kumimoji="0" lang="en-US" sz="4800" b="1" i="0" u="none" strike="noStrike" kern="0" cap="none" spc="-10" normalizeH="0" baseline="0" noProof="0">
                <a:ln>
                  <a:noFill/>
                </a:ln>
                <a:solidFill>
                  <a:schemeClr val="tx2"/>
                </a:solidFill>
                <a:effectLst/>
                <a:uLnTx/>
                <a:uFillTx/>
                <a:latin typeface="+mn-lt"/>
                <a:ea typeface="+mn-ea"/>
                <a:cs typeface="+mn-cs"/>
              </a:rPr>
              <a:t>template layouts after it!</a:t>
            </a:r>
          </a:p>
        </p:txBody>
      </p:sp>
      <p:sp>
        <p:nvSpPr>
          <p:cNvPr id="12" name="TextBox 11">
            <a:extLst>
              <a:ext uri="{FF2B5EF4-FFF2-40B4-BE49-F238E27FC236}">
                <a16:creationId xmlns:a16="http://schemas.microsoft.com/office/drawing/2014/main" id="{DFE67DDD-D160-3D9B-2188-D9306CA813DF}"/>
              </a:ext>
            </a:extLst>
          </p:cNvPr>
          <p:cNvSpPr txBox="1"/>
          <p:nvPr/>
        </p:nvSpPr>
        <p:spPr>
          <a:xfrm>
            <a:off x="2660788" y="5172703"/>
            <a:ext cx="6870472" cy="276999"/>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200"/>
              </a:spcBef>
              <a:spcAft>
                <a:spcPts val="0"/>
              </a:spcAft>
              <a:buClrTx/>
              <a:buSzTx/>
              <a:buFont typeface="Tenorite" panose="020B0604020202020204" pitchFamily="34" charset="0"/>
              <a:buNone/>
              <a:tabLst/>
            </a:pPr>
            <a:r>
              <a:rPr kumimoji="0" lang="en-US" sz="1800" b="0" i="0" u="none" strike="noStrike" kern="0" cap="none" spc="-10" normalizeH="0" baseline="0" noProof="0">
                <a:ln>
                  <a:noFill/>
                </a:ln>
                <a:solidFill>
                  <a:schemeClr val="tx2"/>
                </a:solidFill>
                <a:effectLst/>
                <a:uLnTx/>
                <a:uFillTx/>
                <a:latin typeface="+mn-lt"/>
                <a:ea typeface="+mn-ea"/>
                <a:cs typeface="+mn-cs"/>
              </a:rPr>
              <a:t>They are not part of the template and have been incorrectly added</a:t>
            </a:r>
          </a:p>
        </p:txBody>
      </p:sp>
      <p:sp>
        <p:nvSpPr>
          <p:cNvPr id="5" name="Date Placeholder 4">
            <a:extLst>
              <a:ext uri="{FF2B5EF4-FFF2-40B4-BE49-F238E27FC236}">
                <a16:creationId xmlns:a16="http://schemas.microsoft.com/office/drawing/2014/main" id="{DDC919F5-C38B-5DD9-F3B3-DF10178ED2EB}"/>
              </a:ext>
            </a:extLst>
          </p:cNvPr>
          <p:cNvSpPr>
            <a:spLocks noGrp="1"/>
          </p:cNvSpPr>
          <p:nvPr>
            <p:ph type="dt" sz="half" idx="12"/>
          </p:nvPr>
        </p:nvSpPr>
        <p:spPr/>
        <p:txBody>
          <a:bodyPr/>
          <a:lstStyle/>
          <a:p>
            <a:fld id="{0CCABAF3-89D5-4C5A-A453-6DF0558B6B73}" type="datetime3">
              <a:rPr lang="en-GB" smtClean="0"/>
              <a:t>5 December, 2025</a:t>
            </a:fld>
            <a:endParaRPr lang="en-GB"/>
          </a:p>
        </p:txBody>
      </p:sp>
      <p:sp>
        <p:nvSpPr>
          <p:cNvPr id="3" name="Footer Placeholder 2">
            <a:extLst>
              <a:ext uri="{FF2B5EF4-FFF2-40B4-BE49-F238E27FC236}">
                <a16:creationId xmlns:a16="http://schemas.microsoft.com/office/drawing/2014/main" id="{5EAE4FB1-9FD0-8D6E-9F73-03791EAB2F90}"/>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FA9220E-7B8B-1854-EB1D-18C9BBD7EB09}"/>
              </a:ext>
            </a:extLst>
          </p:cNvPr>
          <p:cNvSpPr>
            <a:spLocks noGrp="1"/>
          </p:cNvSpPr>
          <p:nvPr>
            <p:ph type="sldNum" sz="quarter" idx="11"/>
          </p:nvPr>
        </p:nvSpPr>
        <p:spPr/>
        <p:txBody>
          <a:bodyPr/>
          <a:lstStyle/>
          <a:p>
            <a:fld id="{D05BFB15-FC18-4DE5-A1D6-75E08CC6C47C}" type="slidenum">
              <a:rPr lang="en-GB" smtClean="0"/>
              <a:pPr/>
              <a:t>‹#›</a:t>
            </a:fld>
            <a:endParaRPr lang="en-GB"/>
          </a:p>
        </p:txBody>
      </p:sp>
    </p:spTree>
    <p:extLst>
      <p:ext uri="{BB962C8B-B14F-4D97-AF65-F5344CB8AC3E}">
        <p14:creationId xmlns:p14="http://schemas.microsoft.com/office/powerpoint/2010/main" val="252812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246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9795471"/>
              </p:ext>
            </p:extLst>
          </p:nvPr>
        </p:nvGraphicFramePr>
        <p:xfrm>
          <a:off x="2066" y="1703"/>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6" y="1703"/>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955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113BC-D1FB-C930-BB8D-EF926380EEF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EA3605AB-44A6-6F10-873F-E53175569B29}"/>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4" name="Footer Placeholder 3">
            <a:extLst>
              <a:ext uri="{FF2B5EF4-FFF2-40B4-BE49-F238E27FC236}">
                <a16:creationId xmlns:a16="http://schemas.microsoft.com/office/drawing/2014/main" id="{481AD68F-5699-E70E-CD2D-8290D79066D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8E6DB97-5C36-91ED-515B-5FA34C93F815}"/>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35768767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2840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704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383488"/>
            <a:ext cx="8105269" cy="785532"/>
          </a:xfrm>
          <a:prstGeom prst="rect">
            <a:avLst/>
          </a:prstGeom>
        </p:spPr>
        <p:txBody>
          <a:bodyPr lIns="0"/>
          <a:lstStyle>
            <a:lvl1pPr>
              <a:lnSpc>
                <a:spcPct val="90000"/>
              </a:lnSpc>
              <a:defRPr lang="en-GB" sz="4002"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11090638" cy="4990437"/>
          </a:xfrm>
          <a:prstGeom prst="rect">
            <a:avLst/>
          </a:prstGeom>
        </p:spPr>
        <p:txBody>
          <a:bodyPr/>
          <a:lstStyle/>
          <a:p>
            <a:endParaRPr lang="en-GB"/>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3989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5444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93650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4678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3106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69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0"/>
            <a:ext cx="7848172" cy="1955769"/>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351279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704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6250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2552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383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4796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9195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6240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0" y="0"/>
            <a:ext cx="6094075" cy="6858000"/>
          </a:xfrm>
          <a:prstGeom prst="rect">
            <a:avLst/>
          </a:prstGeom>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564120"/>
            <a:ext cx="505534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7716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a:p>
        </p:txBody>
      </p:sp>
    </p:spTree>
    <p:extLst>
      <p:ext uri="{BB962C8B-B14F-4D97-AF65-F5344CB8AC3E}">
        <p14:creationId xmlns:p14="http://schemas.microsoft.com/office/powerpoint/2010/main" val="316705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95103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3809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0483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4574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67215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9451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58786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9387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99914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545661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1855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7257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457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6767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9490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8763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4878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77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1629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52591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3"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47894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38160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5920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3"/>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4"/>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79" y="1285430"/>
            <a:ext cx="5307105" cy="5147351"/>
          </a:xfrm>
          <a:prstGeom prst="rect">
            <a:avLst/>
          </a:prstGeom>
        </p:spPr>
        <p:txBody>
          <a:bodyPr/>
          <a:lstStyle/>
          <a:p>
            <a:endParaRPr lang="en-GB"/>
          </a:p>
        </p:txBody>
      </p:sp>
    </p:spTree>
    <p:extLst>
      <p:ext uri="{BB962C8B-B14F-4D97-AF65-F5344CB8AC3E}">
        <p14:creationId xmlns:p14="http://schemas.microsoft.com/office/powerpoint/2010/main" val="284783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046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444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0" y="0"/>
            <a:ext cx="6094075" cy="6858000"/>
          </a:xfrm>
          <a:prstGeom prst="rect">
            <a:avLst/>
          </a:prstGeom>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564120"/>
            <a:ext cx="505534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4844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1031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558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5755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9545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9436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12440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9879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7798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7675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288745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a:p>
        </p:txBody>
      </p:sp>
    </p:spTree>
    <p:extLst>
      <p:ext uri="{BB962C8B-B14F-4D97-AF65-F5344CB8AC3E}">
        <p14:creationId xmlns:p14="http://schemas.microsoft.com/office/powerpoint/2010/main" val="389131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7766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177903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0830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838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244913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1755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53084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82362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4884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4342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5435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userDrawn="1">
  <p:cSld name="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6905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0622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9304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4142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0301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5584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9721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7178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76431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9900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5327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08816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8160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5186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19572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72266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61367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05432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7138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2568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411767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5815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54808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334123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08149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28044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78545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2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59345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2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74966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white right half">
            <a:extLst>
              <a:ext uri="{FF2B5EF4-FFF2-40B4-BE49-F238E27FC236}">
                <a16:creationId xmlns:a16="http://schemas.microsoft.com/office/drawing/2014/main" id="{747CFB75-7D71-23BC-3385-9E2DF23DDCC2}"/>
              </a:ext>
            </a:extLst>
          </p:cNvPr>
          <p:cNvSpPr/>
          <p:nvPr/>
        </p:nvSpPr>
        <p:spPr>
          <a:xfrm>
            <a:off x="8131575" y="1534098"/>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966336"/>
            <a:ext cx="3130547"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3" y="2661046"/>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6" y="1840379"/>
            <a:ext cx="3096045"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3" y="1840379"/>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3" y="297553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3" y="367761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3" y="399210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3" y="469418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3" y="500867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3" y="5710758"/>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3" y="602524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152054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1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white right half">
            <a:extLst>
              <a:ext uri="{FF2B5EF4-FFF2-40B4-BE49-F238E27FC236}">
                <a16:creationId xmlns:a16="http://schemas.microsoft.com/office/drawing/2014/main" id="{747CFB75-7D71-23BC-3385-9E2DF23DDCC2}"/>
              </a:ext>
            </a:extLst>
          </p:cNvPr>
          <p:cNvSpPr/>
          <p:nvPr/>
        </p:nvSpPr>
        <p:spPr>
          <a:xfrm>
            <a:off x="0"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4"/>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0"/>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2"/>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4"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1"/>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09"/>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79"/>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6" y="5498844"/>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6" y="6283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8" y="1678654"/>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95192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2329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1762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5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p:nvSpPr>
        <p:spPr>
          <a:xfrm>
            <a:off x="578548" y="473178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sp>
        <p:nvSpPr>
          <p:cNvPr id="22" name="Rectangle 21">
            <a:extLst>
              <a:ext uri="{FF2B5EF4-FFF2-40B4-BE49-F238E27FC236}">
                <a16:creationId xmlns:a16="http://schemas.microsoft.com/office/drawing/2014/main" id="{21EF644A-1C35-261E-B0F2-AB584A034E92}"/>
              </a:ext>
            </a:extLst>
          </p:cNvPr>
          <p:cNvSpPr/>
          <p:nvPr/>
        </p:nvSpPr>
        <p:spPr>
          <a:xfrm>
            <a:off x="578548" y="3027827"/>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sp>
        <p:nvSpPr>
          <p:cNvPr id="12" name="Rectangle 11">
            <a:extLst>
              <a:ext uri="{FF2B5EF4-FFF2-40B4-BE49-F238E27FC236}">
                <a16:creationId xmlns:a16="http://schemas.microsoft.com/office/drawing/2014/main" id="{DA49F5ED-1D1C-D0A1-F251-9A33CAA04695}"/>
              </a:ext>
            </a:extLst>
          </p:cNvPr>
          <p:cNvSpPr/>
          <p:nvPr/>
        </p:nvSpPr>
        <p:spPr>
          <a:xfrm>
            <a:off x="578548" y="1338859"/>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1"/>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999">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475" eaLnBrk="1" fontAlgn="auto" latinLnBrk="0" hangingPunct="1">
              <a:lnSpc>
                <a:spcPct val="100000"/>
              </a:lnSpc>
              <a:spcBef>
                <a:spcPts val="0"/>
              </a:spcBef>
              <a:spcAft>
                <a:spcPts val="0"/>
              </a:spcAft>
              <a:buClrTx/>
              <a:buSzTx/>
              <a:buFontTx/>
              <a:buNone/>
              <a:tabLst/>
              <a:defRPr/>
            </a:pPr>
            <a:r>
              <a:rPr kumimoji="0" lang="en-GB" sz="1941"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1"/>
            <a:ext cx="9157722" cy="1572989"/>
          </a:xfrm>
          <a:prstGeom prst="rect">
            <a:avLst/>
          </a:prstGeom>
          <a:ln>
            <a:solidFill>
              <a:srgbClr val="007C43"/>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5"/>
            <a:ext cx="9157722" cy="1572989"/>
          </a:xfrm>
          <a:prstGeom prst="rect">
            <a:avLst/>
          </a:prstGeom>
          <a:ln>
            <a:solidFill>
              <a:srgbClr val="007C43"/>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7"/>
            <a:ext cx="9157722" cy="1572989"/>
          </a:xfrm>
          <a:prstGeom prst="rect">
            <a:avLst/>
          </a:prstGeom>
          <a:ln>
            <a:solidFill>
              <a:srgbClr val="00592F"/>
            </a:solidFill>
          </a:ln>
        </p:spPr>
        <p:txBody>
          <a:bodyPr/>
          <a:lstStyle>
            <a:lvl1pPr marL="17327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3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03"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069"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34" indent="-173273">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2"/>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2"/>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5"/>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08439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userDrawn="1">
  <p:cSld name="28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72560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userDrawn="1">
  <p:cSld name="30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39647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32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50354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6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593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6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59232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2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8443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2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49"/>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2" y="2411935"/>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301"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82"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66"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46"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27" indent="-173301">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2222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19215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15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4402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A59A38-2FE3-159A-D92B-93670F20CE1F}"/>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3" name="Footer Placeholder 2">
            <a:extLst>
              <a:ext uri="{FF2B5EF4-FFF2-40B4-BE49-F238E27FC236}">
                <a16:creationId xmlns:a16="http://schemas.microsoft.com/office/drawing/2014/main" id="{B79B00BB-FF8A-BFB7-DC40-3B677D6ED82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3989466-9385-0D0B-774E-CF53AA1C01BC}"/>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3765352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2122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4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5110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13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0184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4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4116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46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24275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45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1876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44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83135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43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50645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42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443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7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43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7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5426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65124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6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07044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7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6171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2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3892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6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135115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21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5"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9"/>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9"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91619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20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
        <p:nvSpPr>
          <p:cNvPr id="4" name="Rectangle 3">
            <a:extLst>
              <a:ext uri="{FF2B5EF4-FFF2-40B4-BE49-F238E27FC236}">
                <a16:creationId xmlns:a16="http://schemas.microsoft.com/office/drawing/2014/main" id="{8CC1B68A-517D-8DB4-C857-92DBB4F5AAB9}"/>
              </a:ext>
              <a:ext uri="{C183D7F6-B498-43B3-948B-1728B52AA6E4}">
                <adec:decorative xmlns:adec="http://schemas.microsoft.com/office/drawing/2017/decorative" val="1"/>
              </a:ext>
            </a:extLst>
          </p:cNvPr>
          <p:cNvSpPr/>
          <p:nvPr userDrawn="1"/>
        </p:nvSpPr>
        <p:spPr>
          <a:xfrm>
            <a:off x="6096000" y="1191919"/>
            <a:ext cx="5276901" cy="5194377"/>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Tree>
    <p:extLst>
      <p:ext uri="{BB962C8B-B14F-4D97-AF65-F5344CB8AC3E}">
        <p14:creationId xmlns:p14="http://schemas.microsoft.com/office/powerpoint/2010/main" val="217348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9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315327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7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6795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5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5"/>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7" y="2457059"/>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6"/>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3"/>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1" y="1285432"/>
            <a:ext cx="5307105" cy="5147351"/>
          </a:xfrm>
          <a:prstGeom prst="rect">
            <a:avLst/>
          </a:prstGeom>
        </p:spPr>
        <p:txBody>
          <a:bodyPr/>
          <a:lstStyle/>
          <a:p>
            <a:endParaRPr lang="en-GB"/>
          </a:p>
        </p:txBody>
      </p:sp>
    </p:spTree>
    <p:extLst>
      <p:ext uri="{BB962C8B-B14F-4D97-AF65-F5344CB8AC3E}">
        <p14:creationId xmlns:p14="http://schemas.microsoft.com/office/powerpoint/2010/main" val="387838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78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9996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70876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77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1155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76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0677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75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7"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7"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1361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74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7"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88377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73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4204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72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0101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71_Slide Split with Grad">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12501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70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4"/>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1"/>
            <a:ext cx="4944575"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4"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60"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5"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0"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4"/>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0157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69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5588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68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0693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63151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67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0463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66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1219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6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8434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64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148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63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3549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5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5238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57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5434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2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9187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15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5178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20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118688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48605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4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78252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19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7440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6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34234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7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3026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6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84090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6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07213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9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5"/>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1"/>
            <a:ext cx="4898365" cy="386260"/>
          </a:xfrm>
          <a:prstGeom prst="rect">
            <a:avLst/>
          </a:prstGeom>
        </p:spPr>
        <p:txBody>
          <a:bodyPr wrap="square">
            <a:spAutoFit/>
          </a:bodyPr>
          <a:lstStyle>
            <a:lvl1pPr marL="0" indent="0">
              <a:buFontTx/>
              <a:buNone/>
              <a:defRPr lang="en-GB"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6"/>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1"/>
            <a:ext cx="4898365" cy="386260"/>
          </a:xfrm>
          <a:prstGeom prst="rect">
            <a:avLst/>
          </a:prstGeom>
        </p:spPr>
        <p:txBody>
          <a:bodyPr wrap="square">
            <a:spAutoFit/>
          </a:bodyPr>
          <a:lstStyle>
            <a:lvl1pPr>
              <a:tabLst>
                <a:tab pos="56805"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4"/>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9" y="379289"/>
            <a:ext cx="5105993" cy="795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3214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7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9"/>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1"/>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4"/>
            <a:ext cx="4898365" cy="386260"/>
          </a:xfrm>
          <a:prstGeom prst="rect">
            <a:avLst/>
          </a:prstGeom>
        </p:spPr>
        <p:txBody>
          <a:bodyPr wrap="square">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wrap="square">
            <a:spAutoFit/>
          </a:bodyPr>
          <a:lstStyle>
            <a:lvl1pPr marL="0" indent="0">
              <a:buFontTx/>
              <a:buNone/>
              <a:defRPr lang="en-US" sz="1910" b="1" i="0" spc="-85" dirty="0">
                <a:solidFill>
                  <a:schemeClr val="bg1"/>
                </a:solidFill>
                <a:latin typeface="Poppins"/>
                <a:ea typeface="+mj-ea"/>
                <a:cs typeface="Poppins"/>
              </a:defRPr>
            </a:lvl1pPr>
            <a:lvl2pPr marL="277282" indent="0">
              <a:buFontTx/>
              <a:buNone/>
              <a:defRPr sz="2911" b="1">
                <a:latin typeface="Poppins" panose="00000500000000000000" pitchFamily="2" charset="0"/>
                <a:cs typeface="Poppins" panose="00000500000000000000" pitchFamily="2" charset="0"/>
              </a:defRPr>
            </a:lvl2pPr>
            <a:lvl3pPr marL="554563" indent="0">
              <a:buFontTx/>
              <a:buNone/>
              <a:defRPr sz="2911" b="1">
                <a:latin typeface="Poppins" panose="00000500000000000000" pitchFamily="2" charset="0"/>
                <a:cs typeface="Poppins" panose="00000500000000000000" pitchFamily="2" charset="0"/>
              </a:defRPr>
            </a:lvl3pPr>
            <a:lvl4pPr marL="831845" indent="0">
              <a:buFontTx/>
              <a:buNone/>
              <a:defRPr sz="2911" b="1">
                <a:latin typeface="Poppins" panose="00000500000000000000" pitchFamily="2" charset="0"/>
                <a:cs typeface="Poppins" panose="00000500000000000000" pitchFamily="2" charset="0"/>
              </a:defRPr>
            </a:lvl4pPr>
            <a:lvl5pPr marL="1109127"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9" y="379289"/>
            <a:ext cx="5105993" cy="795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4592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245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80"/>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6"/>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6309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24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5924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9255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24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3258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4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8751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24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0485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24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6785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23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3821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23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17503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37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244268"/>
            <a:ext cx="7268946" cy="578614"/>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1877444"/>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2510621"/>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3147125"/>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3783630"/>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28" y="1403008"/>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28" y="205589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7" y="266936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7" y="329843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7" y="394237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
        <p:nvSpPr>
          <p:cNvPr id="7" name="Rectangle 6">
            <a:extLst>
              <a:ext uri="{FF2B5EF4-FFF2-40B4-BE49-F238E27FC236}">
                <a16:creationId xmlns:a16="http://schemas.microsoft.com/office/drawing/2014/main" id="{7186F4D2-1A58-4876-77D6-0872D9858AC8}"/>
              </a:ext>
            </a:extLst>
          </p:cNvPr>
          <p:cNvSpPr/>
          <p:nvPr userDrawn="1"/>
        </p:nvSpPr>
        <p:spPr>
          <a:xfrm>
            <a:off x="2461529" y="4420133"/>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18">
            <a:extLst>
              <a:ext uri="{FF2B5EF4-FFF2-40B4-BE49-F238E27FC236}">
                <a16:creationId xmlns:a16="http://schemas.microsoft.com/office/drawing/2014/main" id="{5A13A665-D3DC-4672-B084-24E1F3B05060}"/>
              </a:ext>
            </a:extLst>
          </p:cNvPr>
          <p:cNvSpPr>
            <a:spLocks noGrp="1"/>
          </p:cNvSpPr>
          <p:nvPr>
            <p:ph type="body" sz="quarter" idx="20"/>
          </p:nvPr>
        </p:nvSpPr>
        <p:spPr>
          <a:xfrm>
            <a:off x="2692927" y="45788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9" name="Rectangle 8">
            <a:extLst>
              <a:ext uri="{FF2B5EF4-FFF2-40B4-BE49-F238E27FC236}">
                <a16:creationId xmlns:a16="http://schemas.microsoft.com/office/drawing/2014/main" id="{2B95CCF2-E7F9-B278-2086-7E35F8FD7729}"/>
              </a:ext>
            </a:extLst>
          </p:cNvPr>
          <p:cNvSpPr/>
          <p:nvPr userDrawn="1"/>
        </p:nvSpPr>
        <p:spPr>
          <a:xfrm>
            <a:off x="2461529" y="5054372"/>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 name="Text Placeholder 18">
            <a:extLst>
              <a:ext uri="{FF2B5EF4-FFF2-40B4-BE49-F238E27FC236}">
                <a16:creationId xmlns:a16="http://schemas.microsoft.com/office/drawing/2014/main" id="{9C3D30B7-E2F6-42A6-BB9F-79475F409BF8}"/>
              </a:ext>
            </a:extLst>
          </p:cNvPr>
          <p:cNvSpPr>
            <a:spLocks noGrp="1"/>
          </p:cNvSpPr>
          <p:nvPr>
            <p:ph type="body" sz="quarter" idx="20"/>
          </p:nvPr>
        </p:nvSpPr>
        <p:spPr>
          <a:xfrm>
            <a:off x="2692927" y="521311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11" name="Rectangle 10">
            <a:extLst>
              <a:ext uri="{FF2B5EF4-FFF2-40B4-BE49-F238E27FC236}">
                <a16:creationId xmlns:a16="http://schemas.microsoft.com/office/drawing/2014/main" id="{58DF374E-0544-9A8A-5AA0-45C6D3058AE6}"/>
              </a:ext>
            </a:extLst>
          </p:cNvPr>
          <p:cNvSpPr/>
          <p:nvPr userDrawn="1"/>
        </p:nvSpPr>
        <p:spPr>
          <a:xfrm>
            <a:off x="2461529" y="5688611"/>
            <a:ext cx="7268945" cy="57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8">
            <a:extLst>
              <a:ext uri="{FF2B5EF4-FFF2-40B4-BE49-F238E27FC236}">
                <a16:creationId xmlns:a16="http://schemas.microsoft.com/office/drawing/2014/main" id="{2FCE9538-4F2D-0B21-9580-E653FC8FCC56}"/>
              </a:ext>
            </a:extLst>
          </p:cNvPr>
          <p:cNvSpPr>
            <a:spLocks noGrp="1"/>
          </p:cNvSpPr>
          <p:nvPr>
            <p:ph type="body" sz="quarter" idx="20"/>
          </p:nvPr>
        </p:nvSpPr>
        <p:spPr>
          <a:xfrm>
            <a:off x="2692927" y="584735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Tree>
    <p:extLst>
      <p:ext uri="{BB962C8B-B14F-4D97-AF65-F5344CB8AC3E}">
        <p14:creationId xmlns:p14="http://schemas.microsoft.com/office/powerpoint/2010/main" val="38250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23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11653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23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9837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23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2211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9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23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3"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4"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6"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8" indent="-207941"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0371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23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41"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3"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4"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6"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8" indent="-207941"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48390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23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69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23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8"/>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3750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22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2839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22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1" y="235910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1"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1"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1"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1"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1"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342442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22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90"/>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1" y="235910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1"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1"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1"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1"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1"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4"/>
              </a:spcBef>
            </a:pPr>
            <a:r>
              <a:rPr lang="en-US"/>
              <a:t>Title: Description/Details</a:t>
            </a:r>
          </a:p>
        </p:txBody>
      </p:sp>
    </p:spTree>
    <p:extLst>
      <p:ext uri="{BB962C8B-B14F-4D97-AF65-F5344CB8AC3E}">
        <p14:creationId xmlns:p14="http://schemas.microsoft.com/office/powerpoint/2010/main" val="131293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22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126520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225_Title Only">
    <p:bg bwMode="auto">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25487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22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7" y="302366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7" y="4728541"/>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7" y="1318615"/>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27396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2504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22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58422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2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8"/>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04215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22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9"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9"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3"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8"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30" y="1323662"/>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30" y="3009606"/>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30" y="4747848"/>
            <a:ext cx="5330209" cy="1572989"/>
          </a:xfrm>
          <a:prstGeom prst="rect">
            <a:avLst/>
          </a:prstGeom>
        </p:spPr>
        <p:txBody>
          <a:bodyPr/>
          <a:lstStyle>
            <a:lvl1pPr marL="173284"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6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46"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28"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410" indent="-173284">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7" y="1993407"/>
            <a:ext cx="3612539" cy="1572989"/>
          </a:xfrm>
          <a:prstGeom prst="rect">
            <a:avLst/>
          </a:prstGeom>
        </p:spPr>
        <p:txBody>
          <a:bodyPr/>
          <a:lstStyle>
            <a:lvl1pPr marL="173284"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6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46"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28"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410" indent="-173284">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8"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8"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8"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8"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8"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8"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7" tIns="107997" rIns="107997" bIns="107997" numCol="1" spcCol="0" rtlCol="0" fromWordArt="0" anchor="ctr" anchorCtr="0" forceAA="0" compatLnSpc="1">
            <a:prstTxWarp prst="textNoShape">
              <a:avLst/>
            </a:prstTxWarp>
            <a:noAutofit/>
          </a:bodyPr>
          <a:lstStyle/>
          <a:p>
            <a:pPr marL="0" marR="0" lvl="0" indent="0" algn="ctr" defTabSz="554508"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344811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773.xml><?xml version="1.0" encoding="utf-8"?>
<p:sldLayout xmlns:a="http://schemas.openxmlformats.org/drawingml/2006/main" xmlns:r="http://schemas.openxmlformats.org/officeDocument/2006/relationships" xmlns:p="http://schemas.openxmlformats.org/presentationml/2006/main" userDrawn="1">
  <p:cSld name="Divider image + text white">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84BC52E-4C2F-85AD-D9D3-6B3B7E1B70E6}"/>
              </a:ext>
            </a:extLst>
          </p:cNvPr>
          <p:cNvSpPr>
            <a:spLocks noGrp="1"/>
          </p:cNvSpPr>
          <p:nvPr>
            <p:ph type="pic" sz="quarter" idx="12" hasCustomPrompt="1"/>
          </p:nvPr>
        </p:nvSpPr>
        <p:spPr>
          <a:xfrm>
            <a:off x="0" y="0"/>
            <a:ext cx="12192000" cy="6858000"/>
          </a:xfrm>
          <a:solidFill>
            <a:schemeClr val="tx1"/>
          </a:solidFill>
        </p:spPr>
        <p:txBody>
          <a:bodyPr/>
          <a:lstStyle>
            <a:lvl1pPr algn="ctr">
              <a:defRPr>
                <a:solidFill>
                  <a:schemeClr val="bg1"/>
                </a:solidFill>
              </a:defRPr>
            </a:lvl1pPr>
          </a:lstStyle>
          <a:p>
            <a:r>
              <a:rPr lang="en-US"/>
              <a:t>Drag and drop image and send to back</a:t>
            </a:r>
          </a:p>
        </p:txBody>
      </p:sp>
      <p:sp>
        <p:nvSpPr>
          <p:cNvPr id="6" name="Title 5">
            <a:extLst>
              <a:ext uri="{FF2B5EF4-FFF2-40B4-BE49-F238E27FC236}">
                <a16:creationId xmlns:a16="http://schemas.microsoft.com/office/drawing/2014/main" id="{7E6A846F-A6D7-2328-76D2-ED0B51C24A50}"/>
              </a:ext>
            </a:extLst>
          </p:cNvPr>
          <p:cNvSpPr>
            <a:spLocks noGrp="1"/>
          </p:cNvSpPr>
          <p:nvPr>
            <p:ph type="title" hasCustomPrompt="1"/>
          </p:nvPr>
        </p:nvSpPr>
        <p:spPr>
          <a:xfrm>
            <a:off x="323850" y="2947273"/>
            <a:ext cx="10515600" cy="629887"/>
          </a:xfrm>
        </p:spPr>
        <p:txBody>
          <a:bodyPr/>
          <a:lstStyle>
            <a:lvl1pPr>
              <a:defRPr>
                <a:solidFill>
                  <a:schemeClr val="bg1"/>
                </a:solidFill>
              </a:defRPr>
            </a:lvl1pPr>
          </a:lstStyle>
          <a:p>
            <a:r>
              <a:rPr lang="en-GB"/>
              <a:t>Click to edit title</a:t>
            </a:r>
            <a:endParaRPr lang="en-US"/>
          </a:p>
        </p:txBody>
      </p:sp>
      <p:pic>
        <p:nvPicPr>
          <p:cNvPr id="3" name="Picture 2" descr="Logo&#10;&#10;Description automatically generated">
            <a:extLst>
              <a:ext uri="{FF2B5EF4-FFF2-40B4-BE49-F238E27FC236}">
                <a16:creationId xmlns:a16="http://schemas.microsoft.com/office/drawing/2014/main" id="{DEC1FC13-77C0-4B6B-5346-4BA76EF1CC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5663" y="5933549"/>
            <a:ext cx="1369125" cy="809979"/>
          </a:xfrm>
          <a:prstGeom prst="rect">
            <a:avLst/>
          </a:prstGeom>
        </p:spPr>
      </p:pic>
      <p:sp>
        <p:nvSpPr>
          <p:cNvPr id="2" name="Text Placeholder 8">
            <a:extLst>
              <a:ext uri="{FF2B5EF4-FFF2-40B4-BE49-F238E27FC236}">
                <a16:creationId xmlns:a16="http://schemas.microsoft.com/office/drawing/2014/main" id="{7D5A6DBA-EE7C-DF2E-E6C9-D9EB1200523E}"/>
              </a:ext>
            </a:extLst>
          </p:cNvPr>
          <p:cNvSpPr>
            <a:spLocks noGrp="1"/>
          </p:cNvSpPr>
          <p:nvPr>
            <p:ph type="body" sz="quarter" idx="13" hasCustomPrompt="1"/>
          </p:nvPr>
        </p:nvSpPr>
        <p:spPr>
          <a:xfrm>
            <a:off x="1204602" y="3756608"/>
            <a:ext cx="10733616" cy="1164788"/>
          </a:xfrm>
        </p:spPr>
        <p:txBody>
          <a:bodyPr lIns="0" tIns="0" rIns="0" bIns="0">
            <a:noAutofit/>
          </a:bodyPr>
          <a:lstStyle>
            <a:lvl1pPr marL="0" indent="0">
              <a:lnSpc>
                <a:spcPct val="75000"/>
              </a:lnSpc>
              <a:spcBef>
                <a:spcPts val="0"/>
              </a:spcBef>
              <a:buNone/>
              <a:defRPr sz="10668" b="1" i="0">
                <a:gradFill>
                  <a:gsLst>
                    <a:gs pos="0">
                      <a:schemeClr val="accent5"/>
                    </a:gs>
                    <a:gs pos="100000">
                      <a:schemeClr val="accent6"/>
                    </a:gs>
                  </a:gsLst>
                  <a:lin ang="0" scaled="1"/>
                </a:gradFill>
                <a:latin typeface="Poppins ExtraBold" pitchFamily="2" charset="77"/>
                <a:cs typeface="Poppins ExtraBold" pitchFamily="2" charset="77"/>
              </a:defRPr>
            </a:lvl1pPr>
            <a:lvl2pPr marL="457241" indent="0">
              <a:buNone/>
              <a:defRPr sz="10668" b="1" i="0">
                <a:latin typeface="AvenirNext LT Pro Heavy" panose="020B0504020202020204" pitchFamily="34" charset="77"/>
              </a:defRPr>
            </a:lvl2pPr>
            <a:lvl3pPr marL="914480" indent="0">
              <a:buNone/>
              <a:defRPr sz="10668" b="1" i="0">
                <a:latin typeface="AvenirNext LT Pro Heavy" panose="020B0504020202020204" pitchFamily="34" charset="77"/>
              </a:defRPr>
            </a:lvl3pPr>
            <a:lvl4pPr marL="1371722" indent="0">
              <a:buNone/>
              <a:defRPr sz="10668" b="1" i="0">
                <a:latin typeface="AvenirNext LT Pro Heavy" panose="020B0504020202020204" pitchFamily="34" charset="77"/>
              </a:defRPr>
            </a:lvl4pPr>
            <a:lvl5pPr marL="1828962" indent="0">
              <a:buNone/>
              <a:defRPr sz="10668" b="1" i="0">
                <a:latin typeface="AvenirNext LT Pro Heavy" panose="020B0504020202020204" pitchFamily="34" charset="77"/>
              </a:defRPr>
            </a:lvl5pPr>
          </a:lstStyle>
          <a:p>
            <a:pPr lvl="0"/>
            <a:r>
              <a:rPr lang="en-GB"/>
              <a:t>Highlight</a:t>
            </a:r>
            <a:endParaRPr lang="en-US"/>
          </a:p>
        </p:txBody>
      </p:sp>
    </p:spTree>
    <p:extLst>
      <p:ext uri="{BB962C8B-B14F-4D97-AF65-F5344CB8AC3E}">
        <p14:creationId xmlns:p14="http://schemas.microsoft.com/office/powerpoint/2010/main" val="373359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8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4644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6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3738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219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0061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21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6" y="766997"/>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358210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452047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0" y="100181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29" y="194592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288630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8" y="382468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475349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Rectangle 5">
            <a:extLst>
              <a:ext uri="{FF2B5EF4-FFF2-40B4-BE49-F238E27FC236}">
                <a16:creationId xmlns:a16="http://schemas.microsoft.com/office/drawing/2014/main" id="{64CFD1B5-00F9-5427-B21C-60CA835EFEBB}"/>
              </a:ext>
            </a:extLst>
          </p:cNvPr>
          <p:cNvSpPr/>
          <p:nvPr userDrawn="1"/>
        </p:nvSpPr>
        <p:spPr>
          <a:xfrm>
            <a:off x="2461528" y="5458848"/>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388095CB-B2C4-C200-1851-4DB9FA5A1F0A}"/>
              </a:ext>
            </a:extLst>
          </p:cNvPr>
          <p:cNvSpPr/>
          <p:nvPr userDrawn="1"/>
        </p:nvSpPr>
        <p:spPr>
          <a:xfrm>
            <a:off x="2461526" y="168422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Rectangle 7">
            <a:extLst>
              <a:ext uri="{FF2B5EF4-FFF2-40B4-BE49-F238E27FC236}">
                <a16:creationId xmlns:a16="http://schemas.microsoft.com/office/drawing/2014/main" id="{4ACAC0A9-995E-0373-42A5-7A37490CAE19}"/>
              </a:ext>
            </a:extLst>
          </p:cNvPr>
          <p:cNvSpPr/>
          <p:nvPr userDrawn="1"/>
        </p:nvSpPr>
        <p:spPr>
          <a:xfrm>
            <a:off x="2461526" y="2618222"/>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Tree>
    <p:extLst>
      <p:ext uri="{BB962C8B-B14F-4D97-AF65-F5344CB8AC3E}">
        <p14:creationId xmlns:p14="http://schemas.microsoft.com/office/powerpoint/2010/main" val="106967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21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397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21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6224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3010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21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7541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2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8619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21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1860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21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06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21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42732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210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84701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20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7954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20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4381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20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09888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20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5476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91804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05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26031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20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0750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20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877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20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040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201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02375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20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425850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99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145738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198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735753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19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85364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19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89979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9BB08-6A16-D010-E63D-BA849543F7E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1EA990BE-A466-EF2D-E04C-116ACFC17C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14F6A8B3-E4D8-8159-AC52-CCAD530D57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44361F2-F055-03E6-1614-4FB17DE01C50}"/>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6" name="Footer Placeholder 5">
            <a:extLst>
              <a:ext uri="{FF2B5EF4-FFF2-40B4-BE49-F238E27FC236}">
                <a16:creationId xmlns:a16="http://schemas.microsoft.com/office/drawing/2014/main" id="{508D33E9-881C-8DDF-3D92-56DEB642B7D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5E4E98B-EB19-3EAB-6A22-C153595F2B09}"/>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0037113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6692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19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10786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194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80986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802.xml><?xml version="1.0" encoding="utf-8"?>
<p:sldLayout xmlns:a="http://schemas.openxmlformats.org/drawingml/2006/main" xmlns:r="http://schemas.openxmlformats.org/officeDocument/2006/relationships" xmlns:p="http://schemas.openxmlformats.org/presentationml/2006/main" userDrawn="1">
  <p:cSld name="three column">
    <p:bg>
      <p:bgPr>
        <a:solidFill>
          <a:srgbClr val="FFFFFF"/>
        </a:solidFill>
        <a:effectLst/>
      </p:bgPr>
    </p:bg>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9A00E4B8-CEB3-B483-8084-0CB45D0B39DF}"/>
              </a:ext>
            </a:extLst>
          </p:cNvPr>
          <p:cNvSpPr>
            <a:spLocks noGrp="1"/>
          </p:cNvSpPr>
          <p:nvPr>
            <p:ph type="pic" sz="quarter" idx="19"/>
          </p:nvPr>
        </p:nvSpPr>
        <p:spPr>
          <a:xfrm>
            <a:off x="4587033" y="1511094"/>
            <a:ext cx="482096" cy="543111"/>
          </a:xfrm>
          <a:prstGeom prst="rect">
            <a:avLst/>
          </a:prstGeom>
        </p:spPr>
        <p:txBody>
          <a:bodyPr/>
          <a:lstStyle/>
          <a:p>
            <a:endParaRPr lang="en-GB"/>
          </a:p>
        </p:txBody>
      </p:sp>
      <p:sp>
        <p:nvSpPr>
          <p:cNvPr id="26" name="object 22">
            <a:extLst>
              <a:ext uri="{FF2B5EF4-FFF2-40B4-BE49-F238E27FC236}">
                <a16:creationId xmlns:a16="http://schemas.microsoft.com/office/drawing/2014/main" id="{78A5858E-C769-A11B-5873-B66759919939}"/>
              </a:ext>
            </a:extLst>
          </p:cNvPr>
          <p:cNvSpPr/>
          <p:nvPr userDrawn="1"/>
        </p:nvSpPr>
        <p:spPr>
          <a:xfrm>
            <a:off x="4247560" y="3375313"/>
            <a:ext cx="27724"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51879" y="3375313"/>
            <a:ext cx="46350"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8" name="Picture Placeholder 34">
            <a:extLst>
              <a:ext uri="{FF2B5EF4-FFF2-40B4-BE49-F238E27FC236}">
                <a16:creationId xmlns:a16="http://schemas.microsoft.com/office/drawing/2014/main" id="{E36C9282-1EDA-1F80-29A0-FEE2778546E0}"/>
              </a:ext>
            </a:extLst>
          </p:cNvPr>
          <p:cNvSpPr>
            <a:spLocks noGrp="1"/>
          </p:cNvSpPr>
          <p:nvPr>
            <p:ph type="pic" sz="quarter" idx="21"/>
          </p:nvPr>
        </p:nvSpPr>
        <p:spPr>
          <a:xfrm>
            <a:off x="8262416" y="1511022"/>
            <a:ext cx="482096" cy="543111"/>
          </a:xfrm>
          <a:prstGeom prst="rect">
            <a:avLst/>
          </a:prstGeom>
        </p:spPr>
        <p:txBody>
          <a:bodyPr/>
          <a:lstStyle/>
          <a:p>
            <a:endParaRPr lang="en-GB"/>
          </a:p>
        </p:txBody>
      </p:sp>
      <p:sp>
        <p:nvSpPr>
          <p:cNvPr id="29" name="Picture Placeholder 34">
            <a:extLst>
              <a:ext uri="{FF2B5EF4-FFF2-40B4-BE49-F238E27FC236}">
                <a16:creationId xmlns:a16="http://schemas.microsoft.com/office/drawing/2014/main" id="{167AFF17-7D7A-AAEA-E29A-982667C116D6}"/>
              </a:ext>
            </a:extLst>
          </p:cNvPr>
          <p:cNvSpPr>
            <a:spLocks noGrp="1"/>
          </p:cNvSpPr>
          <p:nvPr>
            <p:ph type="pic" sz="quarter" idx="22"/>
          </p:nvPr>
        </p:nvSpPr>
        <p:spPr>
          <a:xfrm>
            <a:off x="586775" y="1510950"/>
            <a:ext cx="482096" cy="543111"/>
          </a:xfrm>
          <a:prstGeom prst="rect">
            <a:avLst/>
          </a:prstGeom>
        </p:spPr>
        <p:txBody>
          <a:bodyPr/>
          <a:lstStyle/>
          <a:p>
            <a:endParaRPr lang="en-GB"/>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2261810"/>
            <a:ext cx="2987422" cy="813733"/>
          </a:xfrm>
          <a:prstGeom prst="rect">
            <a:avLst/>
          </a:prstGeom>
        </p:spPr>
        <p:txBody>
          <a:bodyPr lIns="0"/>
          <a:lstStyle>
            <a:lvl1pPr>
              <a:lnSpc>
                <a:spcPct val="90000"/>
              </a:lnSpc>
              <a:defRPr lang="en-GB" sz="5821"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2261810"/>
            <a:ext cx="2987422" cy="757275"/>
          </a:xfrm>
          <a:prstGeom prst="rect">
            <a:avLst/>
          </a:prstGeom>
        </p:spPr>
        <p:txBody>
          <a:bodyPr lIns="0"/>
          <a:lstStyle>
            <a:lvl1pPr>
              <a:lnSpc>
                <a:spcPts val="5701"/>
              </a:lnSpc>
              <a:defRPr lang="en-GB" sz="5821"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3353230"/>
            <a:ext cx="3325320"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3353229"/>
            <a:ext cx="2987422"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3353228"/>
            <a:ext cx="2987422" cy="220075"/>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87349530-C6CD-7B16-253D-AF41238D6664}"/>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Text Placeholder 8">
            <a:extLst>
              <a:ext uri="{FF2B5EF4-FFF2-40B4-BE49-F238E27FC236}">
                <a16:creationId xmlns:a16="http://schemas.microsoft.com/office/drawing/2014/main" id="{0F5D5893-5338-F751-A97F-AAB40E8A5F19}"/>
              </a:ext>
            </a:extLst>
          </p:cNvPr>
          <p:cNvSpPr>
            <a:spLocks noGrp="1"/>
          </p:cNvSpPr>
          <p:nvPr>
            <p:ph type="body" sz="quarter" idx="28" hasCustomPrompt="1"/>
          </p:nvPr>
        </p:nvSpPr>
        <p:spPr>
          <a:xfrm>
            <a:off x="586775" y="2261809"/>
            <a:ext cx="2987422" cy="813733"/>
          </a:xfrm>
          <a:prstGeom prst="rect">
            <a:avLst/>
          </a:prstGeom>
          <a:noFill/>
        </p:spPr>
        <p:txBody>
          <a:bodyPr lIns="0"/>
          <a:lstStyle>
            <a:lvl1pPr>
              <a:defRPr lang="en-GB" sz="5821" b="1" i="0" spc="-85" dirty="0">
                <a:gradFill flip="none" rotWithShape="1">
                  <a:gsLst>
                    <a:gs pos="0">
                      <a:srgbClr val="007C43"/>
                    </a:gs>
                    <a:gs pos="70000">
                      <a:srgbClr val="68A445"/>
                    </a:gs>
                  </a:gsLst>
                  <a:lin ang="0" scaled="1"/>
                  <a:tileRect/>
                </a:gradFill>
                <a:latin typeface="Poppins"/>
                <a:ea typeface="+mj-ea"/>
                <a:cs typeface="Poppins"/>
              </a:defRPr>
            </a:lvl1pPr>
          </a:lstStyle>
          <a:p>
            <a:pPr lvl="0">
              <a:lnSpc>
                <a:spcPct val="90000"/>
              </a:lnSpc>
            </a:pPr>
            <a:r>
              <a:rPr lang="en-GB"/>
              <a:t>edit</a:t>
            </a:r>
          </a:p>
        </p:txBody>
      </p:sp>
    </p:spTree>
    <p:extLst>
      <p:ext uri="{BB962C8B-B14F-4D97-AF65-F5344CB8AC3E}">
        <p14:creationId xmlns:p14="http://schemas.microsoft.com/office/powerpoint/2010/main" val="41072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332">
          <p15:clr>
            <a:srgbClr val="FBAE40"/>
          </p15:clr>
        </p15:guide>
        <p15:guide id="3" orient="horz" pos="977">
          <p15:clr>
            <a:srgbClr val="FBAE40"/>
          </p15:clr>
        </p15:guide>
        <p15:guide id="4" orient="horz" pos="358">
          <p15:clr>
            <a:srgbClr val="FBAE40"/>
          </p15:clr>
        </p15:guide>
        <p15:guide id="5" orient="horz" pos="659">
          <p15:clr>
            <a:srgbClr val="FBAE40"/>
          </p15:clr>
        </p15:guide>
      </p15:sldGuideLst>
    </p:ext>
  </p:extLs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5_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37112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4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73336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5_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1808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11_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67595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10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5292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4_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5828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10_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4495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3022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8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a:p>
        </p:txBody>
      </p:sp>
    </p:spTree>
    <p:extLst>
      <p:ext uri="{BB962C8B-B14F-4D97-AF65-F5344CB8AC3E}">
        <p14:creationId xmlns:p14="http://schemas.microsoft.com/office/powerpoint/2010/main" val="201252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3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4803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2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0397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2_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8891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5149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76">
          <p15:clr>
            <a:srgbClr val="FBAE40"/>
          </p15:clr>
        </p15:guide>
      </p15:sldGuideLst>
    </p:ext>
  </p:extLs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41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0914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40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6987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39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66110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38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64808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37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88874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9740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36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352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6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326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4_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4299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5_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1549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6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4238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6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9720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17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8065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6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3068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26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0742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25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0255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186910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24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3288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23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6408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20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9836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19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2964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18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202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13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9816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12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3916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16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25551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6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9359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3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4514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3"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87904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userDrawn="1">
  <p:cSld name="193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8166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9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4560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19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1181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19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81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6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5149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7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4439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7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1847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7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842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7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5558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49.xml><?xml version="1.0" encoding="utf-8"?>
<p:sldLayout xmlns:a="http://schemas.openxmlformats.org/drawingml/2006/main" xmlns:r="http://schemas.openxmlformats.org/officeDocument/2006/relationships" xmlns:p="http://schemas.openxmlformats.org/presentationml/2006/main" userDrawn="1">
  <p:cSld name="74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159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254761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73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44209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7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2054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7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0362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7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88233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6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9181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68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64889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6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8310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6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2303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65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17548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64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02837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9322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6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2583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6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21364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6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07679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6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70681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5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92059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5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28665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57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419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92">
          <p15:clr>
            <a:srgbClr val="FBAE40"/>
          </p15:clr>
        </p15:guide>
      </p15:sldGuideLst>
    </p:ext>
  </p:extLs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7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err="1"/>
              <a:t>Aquistion</a:t>
            </a:r>
            <a:r>
              <a:rPr lang="en-GB"/>
              <a:t> deal time line &amp; key learnings</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692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6AC2B-5919-EF23-8DF2-1A6D8F73A56B}"/>
              </a:ext>
            </a:extLst>
          </p:cNvPr>
          <p:cNvSpPr>
            <a:spLocks noGrp="1"/>
          </p:cNvSpPr>
          <p:nvPr>
            <p:ph type="title"/>
          </p:nvPr>
        </p:nvSpPr>
        <p:spPr>
          <a:xfrm>
            <a:off x="838471" y="364850"/>
            <a:ext cx="10515058" cy="1325584"/>
          </a:xfrm>
          <a:prstGeom prst="rect">
            <a:avLst/>
          </a:prstGeo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C397D6C7-9E63-AA96-151C-585A3DD72959}"/>
              </a:ext>
            </a:extLst>
          </p:cNvPr>
          <p:cNvSpPr>
            <a:spLocks noGrp="1"/>
          </p:cNvSpPr>
          <p:nvPr>
            <p:ph type="sldNum" sz="quarter" idx="10"/>
          </p:nvPr>
        </p:nvSpPr>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19079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3_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6"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7557"/>
            <a:ext cx="1297759" cy="657774"/>
          </a:xfrm>
          <a:prstGeom prst="rect">
            <a:avLst/>
          </a:prstGeom>
        </p:spPr>
      </p:pic>
    </p:spTree>
    <p:extLst>
      <p:ext uri="{BB962C8B-B14F-4D97-AF65-F5344CB8AC3E}">
        <p14:creationId xmlns:p14="http://schemas.microsoft.com/office/powerpoint/2010/main" val="139035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3"/>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4"/>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79" y="1285430"/>
            <a:ext cx="5307105" cy="5147351"/>
          </a:xfrm>
          <a:prstGeom prst="rect">
            <a:avLst/>
          </a:prstGeom>
        </p:spPr>
        <p:txBody>
          <a:bodyPr/>
          <a:lstStyle/>
          <a:p>
            <a:endParaRPr lang="en-GB"/>
          </a:p>
        </p:txBody>
      </p:sp>
    </p:spTree>
    <p:extLst>
      <p:ext uri="{BB962C8B-B14F-4D97-AF65-F5344CB8AC3E}">
        <p14:creationId xmlns:p14="http://schemas.microsoft.com/office/powerpoint/2010/main" val="77016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2_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383488"/>
            <a:ext cx="8105269" cy="785532"/>
          </a:xfrm>
          <a:prstGeom prst="rect">
            <a:avLst/>
          </a:prstGeom>
        </p:spPr>
        <p:txBody>
          <a:bodyPr lIns="0"/>
          <a:lstStyle>
            <a:lvl1pPr>
              <a:lnSpc>
                <a:spcPct val="90000"/>
              </a:lnSpc>
              <a:defRPr lang="en-GB" sz="4003"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9"/>
            <a:ext cx="11090638" cy="4990437"/>
          </a:xfrm>
          <a:prstGeom prst="rect">
            <a:avLst/>
          </a:prstGeom>
        </p:spPr>
        <p:txBody>
          <a:bodyPr/>
          <a:lstStyle/>
          <a:p>
            <a:endParaRPr lang="en-GB"/>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2432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3_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9"/>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905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3_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2"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252290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3_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93835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2_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2"/>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517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2_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2"/>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781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6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18570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7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2" y="2411933"/>
            <a:ext cx="510883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300"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81"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62"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43"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23" indent="-173300">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13790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7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12288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6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5949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634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7_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3"/>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2"/>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56100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6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6"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8"/>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4"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3"/>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2"/>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98270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463">
          <p15:clr>
            <a:srgbClr val="FBAE40"/>
          </p15:clr>
        </p15:guide>
      </p15:sldGuideLst>
    </p:ext>
  </p:extLs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23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08110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2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91512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2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69120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20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2"/>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5102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19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0675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18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2" y="2159255"/>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1"/>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41382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3_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2"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2224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3_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0" y="2639797"/>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16192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7213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3_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5" y="2"/>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3" cy="224036"/>
          </a:xfrm>
          <a:prstGeom prst="rect">
            <a:avLst/>
          </a:prstGeom>
        </p:spPr>
        <p:txBody>
          <a:bodyPr vert="horz" wrap="square" lIns="0" tIns="13970" rIns="0" bIns="0" rtlCol="0">
            <a:spAutoFit/>
          </a:bodyPr>
          <a:lstStyle>
            <a:lvl1pPr>
              <a:defRPr lang="en-US" sz="1364" spc="-25"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6"/>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7"/>
            <a:ext cx="415128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3"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9116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3_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3"/>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26042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543426"/>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564662"/>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8"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9"/>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17861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3_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4" y="2181391"/>
            <a:ext cx="4486318"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9"/>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8"/>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927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12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1055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3_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22125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11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4"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28513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10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6" y="1257236"/>
            <a:ext cx="5307538"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801"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50" y="1950353"/>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6" y="2233354"/>
            <a:ext cx="4944575" cy="2223237"/>
          </a:xfrm>
          <a:prstGeom prst="rect">
            <a:avLst/>
          </a:prstGeom>
        </p:spPr>
        <p:txBody>
          <a:bodyPr vert="horz" wrap="square" lIns="0" tIns="176530" rIns="0" bIns="0" rtlCol="0">
            <a:spAutoFit/>
          </a:bodyPr>
          <a:lstStyle>
            <a:lvl1pPr>
              <a:lnSpc>
                <a:spcPct val="90000"/>
              </a:lnSpc>
              <a:defRPr lang="en-US" sz="7278"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258020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3_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1" y="3"/>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801"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306092"/>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610328"/>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9"/>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8" b="1" i="0" spc="-85" dirty="0">
                <a:gradFill flip="none" rotWithShape="1">
                  <a:gsLst>
                    <a:gs pos="0">
                      <a:srgbClr val="007C43"/>
                    </a:gs>
                    <a:gs pos="70000">
                      <a:srgbClr val="68A445"/>
                    </a:gs>
                  </a:gsLst>
                  <a:lin ang="0" scaled="1"/>
                  <a:tileRect/>
                </a:gradFill>
                <a:latin typeface="Poppins"/>
                <a:ea typeface="+mj-ea"/>
                <a:cs typeface="Poppins"/>
              </a:defRPr>
            </a:lvl1pPr>
            <a:lvl2pPr>
              <a:defRPr sz="7278" b="1">
                <a:latin typeface="Poppins" panose="00000500000000000000" pitchFamily="2" charset="0"/>
                <a:cs typeface="Poppins" panose="00000500000000000000" pitchFamily="2" charset="0"/>
              </a:defRPr>
            </a:lvl2pPr>
            <a:lvl3pPr>
              <a:defRPr sz="7278" b="1">
                <a:latin typeface="Poppins" panose="00000500000000000000" pitchFamily="2" charset="0"/>
                <a:cs typeface="Poppins" panose="00000500000000000000" pitchFamily="2" charset="0"/>
              </a:defRPr>
            </a:lvl3pPr>
            <a:lvl4pPr>
              <a:defRPr sz="7278" b="1">
                <a:latin typeface="Poppins" panose="00000500000000000000" pitchFamily="2" charset="0"/>
                <a:cs typeface="Poppins" panose="00000500000000000000" pitchFamily="2" charset="0"/>
              </a:defRPr>
            </a:lvl4pPr>
            <a:lvl5pPr>
              <a:defRPr sz="7278"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92034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3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5"/>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5" y="1746144"/>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3"/>
            <a:ext cx="5516834" cy="229550"/>
          </a:xfrm>
          <a:prstGeom prst="rect">
            <a:avLst/>
          </a:prstGeom>
        </p:spPr>
        <p:txBody>
          <a:bodyPr vert="horz" wrap="square" lIns="0" tIns="12700" rIns="0" bIns="0" rtlCol="0">
            <a:spAutoFit/>
          </a:bodyPr>
          <a:lstStyle>
            <a:lvl1pPr>
              <a:defRPr lang="en-US" sz="1214"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2"/>
            <a:ext cx="5307105" cy="5147351"/>
          </a:xfrm>
          <a:prstGeom prst="rect">
            <a:avLst/>
          </a:prstGeom>
        </p:spPr>
        <p:txBody>
          <a:bodyPr/>
          <a:lstStyle/>
          <a:p>
            <a:endParaRPr lang="en-GB"/>
          </a:p>
        </p:txBody>
      </p:sp>
    </p:spTree>
    <p:extLst>
      <p:ext uri="{BB962C8B-B14F-4D97-AF65-F5344CB8AC3E}">
        <p14:creationId xmlns:p14="http://schemas.microsoft.com/office/powerpoint/2010/main" val="200833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6_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4">
                <a:solidFill>
                  <a:srgbClr val="282828"/>
                </a:solidFill>
                <a:latin typeface="Poppins" panose="00000500000000000000" pitchFamily="2" charset="0"/>
                <a:cs typeface="Poppins" panose="00000500000000000000" pitchFamily="2" charset="0"/>
              </a:defRPr>
            </a:lvl1pPr>
            <a:lvl2pPr algn="l">
              <a:defRPr sz="1214">
                <a:solidFill>
                  <a:srgbClr val="282828"/>
                </a:solidFill>
                <a:latin typeface="Poppins" panose="00000500000000000000" pitchFamily="2" charset="0"/>
                <a:cs typeface="Poppins" panose="00000500000000000000" pitchFamily="2" charset="0"/>
              </a:defRPr>
            </a:lvl2pPr>
            <a:lvl3pPr algn="l">
              <a:defRPr sz="1214">
                <a:solidFill>
                  <a:srgbClr val="282828"/>
                </a:solidFill>
                <a:latin typeface="Poppins" panose="00000500000000000000" pitchFamily="2" charset="0"/>
                <a:cs typeface="Poppins" panose="00000500000000000000" pitchFamily="2" charset="0"/>
              </a:defRPr>
            </a:lvl3pPr>
            <a:lvl4pPr algn="l">
              <a:defRPr sz="1214">
                <a:solidFill>
                  <a:srgbClr val="282828"/>
                </a:solidFill>
                <a:latin typeface="Poppins" panose="00000500000000000000" pitchFamily="2" charset="0"/>
                <a:cs typeface="Poppins" panose="00000500000000000000" pitchFamily="2" charset="0"/>
              </a:defRPr>
            </a:lvl4pPr>
            <a:lvl5pPr algn="l">
              <a:defRPr sz="1214">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4">
                <a:solidFill>
                  <a:srgbClr val="282828"/>
                </a:solidFill>
                <a:latin typeface="Poppins" panose="00000500000000000000" pitchFamily="2" charset="0"/>
                <a:cs typeface="Poppins" panose="00000500000000000000" pitchFamily="2" charset="0"/>
              </a:defRPr>
            </a:lvl1pPr>
            <a:lvl2pPr algn="l">
              <a:defRPr sz="1214">
                <a:solidFill>
                  <a:srgbClr val="282828"/>
                </a:solidFill>
                <a:latin typeface="Poppins" panose="00000500000000000000" pitchFamily="2" charset="0"/>
                <a:cs typeface="Poppins" panose="00000500000000000000" pitchFamily="2" charset="0"/>
              </a:defRPr>
            </a:lvl2pPr>
            <a:lvl3pPr algn="l">
              <a:defRPr sz="1214">
                <a:solidFill>
                  <a:srgbClr val="282828"/>
                </a:solidFill>
                <a:latin typeface="Poppins" panose="00000500000000000000" pitchFamily="2" charset="0"/>
                <a:cs typeface="Poppins" panose="00000500000000000000" pitchFamily="2" charset="0"/>
              </a:defRPr>
            </a:lvl3pPr>
            <a:lvl4pPr algn="l">
              <a:defRPr sz="1214">
                <a:solidFill>
                  <a:srgbClr val="282828"/>
                </a:solidFill>
                <a:latin typeface="Poppins" panose="00000500000000000000" pitchFamily="2" charset="0"/>
                <a:cs typeface="Poppins" panose="00000500000000000000" pitchFamily="2" charset="0"/>
              </a:defRPr>
            </a:lvl4pPr>
            <a:lvl5pPr algn="l">
              <a:defRPr sz="1214">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3049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6674D-7E32-A5E0-4E40-8B818C4A2F7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E2C308B0-CBD3-BA8C-DF61-A0E0A00917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634A666-3001-4D41-6EF4-0A846BBA2E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74679F5-151C-2196-9D9F-B8FF3D24C77E}"/>
              </a:ext>
            </a:extLst>
          </p:cNvPr>
          <p:cNvSpPr>
            <a:spLocks noGrp="1"/>
          </p:cNvSpPr>
          <p:nvPr>
            <p:ph type="dt" sz="half" idx="10"/>
          </p:nvPr>
        </p:nvSpPr>
        <p:spPr/>
        <p:txBody>
          <a:bodyPr/>
          <a:lstStyle/>
          <a:p>
            <a:fld id="{0F035456-BB8E-4825-B305-21BED00D6F73}" type="datetimeFigureOut">
              <a:rPr lang="en-GB" smtClean="0"/>
              <a:t>05/12/2025</a:t>
            </a:fld>
            <a:endParaRPr lang="en-GB"/>
          </a:p>
        </p:txBody>
      </p:sp>
      <p:sp>
        <p:nvSpPr>
          <p:cNvPr id="6" name="Footer Placeholder 5">
            <a:extLst>
              <a:ext uri="{FF2B5EF4-FFF2-40B4-BE49-F238E27FC236}">
                <a16:creationId xmlns:a16="http://schemas.microsoft.com/office/drawing/2014/main" id="{A09FB18C-0106-BC69-0F94-AD8DAC6ED1A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C1640FB-1249-A72F-1B40-8B41594DE831}"/>
              </a:ext>
            </a:extLst>
          </p:cNvPr>
          <p:cNvSpPr>
            <a:spLocks noGrp="1"/>
          </p:cNvSpPr>
          <p:nvPr>
            <p:ph type="sldNum" sz="quarter" idx="12"/>
          </p:nvPr>
        </p:nvSpPr>
        <p:spPr/>
        <p:txBody>
          <a:bodyPr/>
          <a:lstStyle/>
          <a:p>
            <a:fld id="{23C1F30F-E82E-45E5-9DCC-0A3FD5108887}" type="slidenum">
              <a:rPr lang="en-GB" smtClean="0"/>
              <a:t>‹#›</a:t>
            </a:fld>
            <a:endParaRPr lang="en-GB"/>
          </a:p>
        </p:txBody>
      </p:sp>
    </p:spTree>
    <p:extLst>
      <p:ext uri="{BB962C8B-B14F-4D97-AF65-F5344CB8AC3E}">
        <p14:creationId xmlns:p14="http://schemas.microsoft.com/office/powerpoint/2010/main" val="12094333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687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5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8"/>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4">
                <a:solidFill>
                  <a:schemeClr val="bg1"/>
                </a:solidFill>
                <a:latin typeface="Poppins" panose="00000500000000000000" pitchFamily="2" charset="0"/>
                <a:cs typeface="Poppins" panose="00000500000000000000" pitchFamily="2" charset="0"/>
              </a:defRPr>
            </a:lvl1pPr>
            <a:lvl2pPr algn="l">
              <a:defRPr sz="1214">
                <a:solidFill>
                  <a:schemeClr val="bg1"/>
                </a:solidFill>
                <a:latin typeface="Poppins" panose="00000500000000000000" pitchFamily="2" charset="0"/>
                <a:cs typeface="Poppins" panose="00000500000000000000" pitchFamily="2" charset="0"/>
              </a:defRPr>
            </a:lvl2pPr>
            <a:lvl3pPr algn="l">
              <a:defRPr sz="1214">
                <a:solidFill>
                  <a:schemeClr val="bg1"/>
                </a:solidFill>
                <a:latin typeface="Poppins" panose="00000500000000000000" pitchFamily="2" charset="0"/>
                <a:cs typeface="Poppins" panose="00000500000000000000" pitchFamily="2" charset="0"/>
              </a:defRPr>
            </a:lvl3pPr>
            <a:lvl4pPr algn="l">
              <a:defRPr sz="1214">
                <a:solidFill>
                  <a:schemeClr val="bg1"/>
                </a:solidFill>
                <a:latin typeface="Poppins" panose="00000500000000000000" pitchFamily="2" charset="0"/>
                <a:cs typeface="Poppins" panose="00000500000000000000" pitchFamily="2" charset="0"/>
              </a:defRPr>
            </a:lvl4pPr>
            <a:lvl5pPr algn="l">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4">
                <a:solidFill>
                  <a:schemeClr val="bg1"/>
                </a:solidFill>
                <a:latin typeface="Poppins" panose="00000500000000000000" pitchFamily="2" charset="0"/>
                <a:cs typeface="Poppins" panose="00000500000000000000" pitchFamily="2" charset="0"/>
              </a:defRPr>
            </a:lvl1pPr>
            <a:lvl2pPr algn="l">
              <a:defRPr sz="1214">
                <a:solidFill>
                  <a:schemeClr val="bg1"/>
                </a:solidFill>
                <a:latin typeface="Poppins" panose="00000500000000000000" pitchFamily="2" charset="0"/>
                <a:cs typeface="Poppins" panose="00000500000000000000" pitchFamily="2" charset="0"/>
              </a:defRPr>
            </a:lvl2pPr>
            <a:lvl3pPr algn="l">
              <a:defRPr sz="1214">
                <a:solidFill>
                  <a:schemeClr val="bg1"/>
                </a:solidFill>
                <a:latin typeface="Poppins" panose="00000500000000000000" pitchFamily="2" charset="0"/>
                <a:cs typeface="Poppins" panose="00000500000000000000" pitchFamily="2" charset="0"/>
              </a:defRPr>
            </a:lvl3pPr>
            <a:lvl4pPr algn="l">
              <a:defRPr sz="1214">
                <a:solidFill>
                  <a:schemeClr val="bg1"/>
                </a:solidFill>
                <a:latin typeface="Poppins" panose="00000500000000000000" pitchFamily="2" charset="0"/>
                <a:cs typeface="Poppins" panose="00000500000000000000" pitchFamily="2" charset="0"/>
              </a:defRPr>
            </a:lvl4pPr>
            <a:lvl5pPr algn="l">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872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44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4216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4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7838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4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681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41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2"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40"/>
            <a:ext cx="6100542"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21328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40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40"/>
            <a:ext cx="6100542"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97022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39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90" y="3"/>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4076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38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90" y="3"/>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9359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37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28196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36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2"/>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50" y="2444715"/>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2"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6" lvl="0">
              <a:lnSpc>
                <a:spcPts val="1831"/>
              </a:lnSpc>
              <a:spcBef>
                <a:spcPts val="251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748951"/>
            <a:ext cx="4944575"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8"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7"/>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801"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7"/>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14027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6377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1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874975"/>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4"/>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4"/>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9"/>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287465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7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69564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10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874975"/>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4"/>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4"/>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9"/>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260606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6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9">
                <a:solidFill>
                  <a:srgbClr val="282828"/>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8857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9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748952"/>
            <a:ext cx="2929842" cy="799642"/>
          </a:xfrm>
          <a:prstGeom prst="rect">
            <a:avLst/>
          </a:prstGeom>
        </p:spPr>
        <p:txBody>
          <a:bodyPr vert="horz" wrap="square" lIns="0" tIns="11430" rIns="0" bIns="0" rtlCol="0">
            <a:spAutoFit/>
          </a:bodyPr>
          <a:lstStyle>
            <a:lvl1pPr>
              <a:lnSpc>
                <a:spcPct val="90000"/>
              </a:lnSpc>
              <a:defRPr lang="en-US" sz="2335" b="1" spc="-46"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1"/>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FFFFFF"/>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5345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3_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1" y="471705"/>
            <a:ext cx="9842162" cy="372090"/>
          </a:xfrm>
          <a:prstGeom prst="rect">
            <a:avLst/>
          </a:prstGeom>
        </p:spPr>
        <p:txBody>
          <a:bodyPr vert="horz" wrap="square" lIns="0" tIns="11430" rIns="0" bIns="0" rtlCol="0">
            <a:spAutoFit/>
          </a:bodyPr>
          <a:lstStyle>
            <a:lvl1pPr>
              <a:lnSpc>
                <a:spcPct val="90000"/>
              </a:lnSpc>
              <a:defRPr lang="en-US" sz="2183"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7"/>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6"/>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108161"/>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9">
                <a:solidFill>
                  <a:srgbClr val="FFFFFF"/>
                </a:solidFill>
                <a:latin typeface="Poppins" panose="00000500000000000000" pitchFamily="2" charset="0"/>
                <a:cs typeface="Poppins" panose="00000500000000000000" pitchFamily="2" charset="0"/>
              </a:defRPr>
            </a:lvl1pPr>
            <a:lvl2pPr algn="l">
              <a:defRPr sz="1699">
                <a:latin typeface="Poppins" panose="00000500000000000000" pitchFamily="2" charset="0"/>
                <a:cs typeface="Poppins" panose="00000500000000000000" pitchFamily="2" charset="0"/>
              </a:defRPr>
            </a:lvl2pPr>
            <a:lvl3pPr algn="l">
              <a:defRPr sz="1699">
                <a:latin typeface="Poppins" panose="00000500000000000000" pitchFamily="2" charset="0"/>
                <a:cs typeface="Poppins" panose="00000500000000000000" pitchFamily="2" charset="0"/>
              </a:defRPr>
            </a:lvl3pPr>
            <a:lvl4pPr algn="l">
              <a:defRPr sz="1699">
                <a:latin typeface="Poppins" panose="00000500000000000000" pitchFamily="2" charset="0"/>
                <a:cs typeface="Poppins" panose="00000500000000000000" pitchFamily="2" charset="0"/>
              </a:defRPr>
            </a:lvl4pPr>
            <a:lvl5pPr algn="l">
              <a:defRPr sz="1699">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130020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3_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lnSpc>
                <a:spcPct val="90000"/>
              </a:lnSpc>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1"/>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2"/>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2"/>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7" y="1488348"/>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6" y="1488277"/>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147746"/>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9"/>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9"/>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8"/>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7"/>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7"/>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2448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3_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3" y="3091624"/>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8" y="3091624"/>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6"/>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2"/>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95688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3_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5"/>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5"/>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2"/>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2"/>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1"/>
            <a:ext cx="3325321"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1"/>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2"/>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3" y="1531032"/>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90" y="1526104"/>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5" y="425498"/>
            <a:ext cx="9260249" cy="397225"/>
          </a:xfrm>
          <a:prstGeom prst="rect">
            <a:avLst/>
          </a:prstGeom>
        </p:spPr>
        <p:txBody>
          <a:bodyPr vert="horz" wrap="square" lIns="0" tIns="11430" rIns="0" bIns="0" rtlCol="0">
            <a:spAutoFit/>
          </a:bodyPr>
          <a:lstStyle>
            <a:lvl1pPr>
              <a:defRPr lang="en-US" sz="2335" b="1" spc="-46"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141827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5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5"/>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1"/>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6"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5"/>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8"/>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0"/>
            <a:ext cx="4898366" cy="386260"/>
          </a:xfrm>
          <a:prstGeom prst="rect">
            <a:avLst/>
          </a:prstGeom>
        </p:spPr>
        <p:txBody>
          <a:bodyPr>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58117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6698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4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3"/>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3"/>
            <a:ext cx="4898366"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6"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81" indent="0">
              <a:buFontTx/>
              <a:buNone/>
              <a:defRPr sz="2911" b="1">
                <a:latin typeface="Poppins" panose="00000500000000000000" pitchFamily="2" charset="0"/>
                <a:cs typeface="Poppins" panose="00000500000000000000" pitchFamily="2" charset="0"/>
              </a:defRPr>
            </a:lvl2pPr>
            <a:lvl3pPr marL="554560" indent="0">
              <a:buFontTx/>
              <a:buNone/>
              <a:defRPr sz="2911" b="1">
                <a:latin typeface="Poppins" panose="00000500000000000000" pitchFamily="2" charset="0"/>
                <a:cs typeface="Poppins" panose="00000500000000000000" pitchFamily="2" charset="0"/>
              </a:defRPr>
            </a:lvl3pPr>
            <a:lvl4pPr marL="831842" indent="0">
              <a:buFontTx/>
              <a:buNone/>
              <a:defRPr sz="2911" b="1">
                <a:latin typeface="Poppins" panose="00000500000000000000" pitchFamily="2" charset="0"/>
                <a:cs typeface="Poppins" panose="00000500000000000000" pitchFamily="2" charset="0"/>
              </a:defRPr>
            </a:lvl4pPr>
            <a:lvl5pPr marL="1109123"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4"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9"/>
            <a:ext cx="5105993" cy="799642"/>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41" y="1402588"/>
            <a:ext cx="5109202"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12509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21.xml><?xml version="1.0" encoding="utf-8"?>
<p:sldLayout xmlns:a="http://schemas.openxmlformats.org/drawingml/2006/main" xmlns:r="http://schemas.openxmlformats.org/officeDocument/2006/relationships" xmlns:p="http://schemas.openxmlformats.org/presentationml/2006/main" userDrawn="1">
  <p:cSld name="132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4"/>
            <a:ext cx="7290270"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21821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13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8"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8440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130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84624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12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63394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12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4"/>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47789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12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17177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126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2"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24789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12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7"/>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9"/>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3072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1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52134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7724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123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4"/>
            <a:ext cx="7290270"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9764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122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8"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3"/>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1"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75486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12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17494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120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4965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119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4"/>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0959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11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2"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21"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50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82"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63" indent="-207940"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68836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11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6" lvl="0">
              <a:lnSpc>
                <a:spcPts val="1831"/>
              </a:lnSpc>
              <a:spcBef>
                <a:spcPts val="251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40"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21"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50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82"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63" indent="-207940"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2"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28380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11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7"/>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9"/>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46081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11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90"/>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8"/>
            <a:ext cx="2804160" cy="130677"/>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1197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7" y="1393446"/>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7" y="45744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2" y="243007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2" y="309465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2" y="375923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2" y="442380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2" y="508838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2" y="576026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46793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5855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113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4" y="235910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4" y="302368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4" y="368826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4" y="4352839"/>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4" y="501741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4" y="568929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90"/>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7" y="459596"/>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90"/>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6"/>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4"/>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9"/>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7"/>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197053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11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90"/>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90"/>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4"/>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6" lvl="0">
              <a:lnSpc>
                <a:spcPts val="1831"/>
              </a:lnSpc>
              <a:spcBef>
                <a:spcPts val="251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6"/>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4"/>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9"/>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7"/>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2"/>
            <a:ext cx="5264706"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6"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6"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6"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9"/>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6"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6"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6"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6" lvl="0">
              <a:lnSpc>
                <a:spcPts val="1831"/>
              </a:lnSpc>
              <a:spcBef>
                <a:spcPts val="2515"/>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6" lvl="0">
              <a:lnSpc>
                <a:spcPts val="1831"/>
              </a:lnSpc>
              <a:spcBef>
                <a:spcPts val="2515"/>
              </a:spcBef>
            </a:pPr>
            <a:r>
              <a:rPr lang="en-US"/>
              <a:t>Title: Description/Details</a:t>
            </a:r>
          </a:p>
        </p:txBody>
      </p:sp>
    </p:spTree>
    <p:extLst>
      <p:ext uri="{BB962C8B-B14F-4D97-AF65-F5344CB8AC3E}">
        <p14:creationId xmlns:p14="http://schemas.microsoft.com/office/powerpoint/2010/main" val="78710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11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9069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11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60"/>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32707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10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1"/>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5"/>
            <a:ext cx="1695986"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7"/>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7"/>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8"/>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6440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10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6"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6"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6"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26854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0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3" y="1323660"/>
            <a:ext cx="1695986"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3" y="3025402"/>
            <a:ext cx="1695986"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3" y="4728540"/>
            <a:ext cx="1695986"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8"/>
            <a:ext cx="2804160" cy="130677"/>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67799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10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1"/>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1"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graphicFrame>
        <p:nvGraphicFramePr>
          <p:cNvPr id="3" name="Object 2" hidden="1"/>
          <p:cNvGraphicFramePr>
            <a:graphicFrameLocks noChangeAspect="1"/>
          </p:cNvGraphicFramePr>
          <p:nvPr>
            <p:custDataLst>
              <p:tags r:id="rId1"/>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0" tIns="65490" rIns="65490" bIns="65490" numCol="1" spcCol="0" rtlCol="0" fromWordArt="0" anchor="ctr" anchorCtr="0" forceAA="0" compatLnSpc="1">
            <a:prstTxWarp prst="textNoShape">
              <a:avLst/>
            </a:prstTxWarp>
            <a:noAutofit/>
          </a:bodyPr>
          <a:lstStyle/>
          <a:p>
            <a:pPr marL="0" marR="0" lvl="0" indent="0" algn="ctr" defTabSz="554506"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2"/>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6"/>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8"/>
            <a:ext cx="5330209" cy="1572989"/>
          </a:xfrm>
          <a:prstGeom prst="rect">
            <a:avLst/>
          </a:prstGeom>
        </p:spPr>
        <p:txBody>
          <a:bodyPr/>
          <a:lstStyle>
            <a:lvl1pPr marL="173283"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1pPr>
            <a:lvl2pPr marL="450564"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2pPr>
            <a:lvl3pPr marL="72784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3pPr>
            <a:lvl4pPr marL="1005125"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4pPr>
            <a:lvl5pPr marL="1282406" indent="-173283">
              <a:buClr>
                <a:srgbClr val="007C43"/>
              </a:buClr>
              <a:buFont typeface="Wingdings" panose="05000000000000000000" pitchFamily="2" charset="2"/>
              <a:buChar char="§"/>
              <a:defRPr sz="1214">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7"/>
            <a:ext cx="3612539" cy="1572989"/>
          </a:xfrm>
          <a:prstGeom prst="rect">
            <a:avLst/>
          </a:prstGeom>
        </p:spPr>
        <p:txBody>
          <a:bodyPr/>
          <a:lstStyle>
            <a:lvl1pPr marL="173283"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1pPr>
            <a:lvl2pPr marL="450564"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2pPr>
            <a:lvl3pPr marL="72784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3pPr>
            <a:lvl4pPr marL="1005125"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4pPr>
            <a:lvl5pPr marL="1282406" indent="-173283">
              <a:buClr>
                <a:srgbClr val="75B94E"/>
              </a:buClr>
              <a:buFont typeface="Wingdings" panose="05000000000000000000" pitchFamily="2" charset="2"/>
              <a:buChar char="§"/>
              <a:defRPr sz="1214">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8" y="174236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8" y="2153092"/>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8" y="3429000"/>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8" y="38397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8" y="5104301"/>
            <a:ext cx="1156146" cy="286126"/>
          </a:xfrm>
          <a:prstGeom prst="rect">
            <a:avLst/>
          </a:prstGeom>
        </p:spPr>
        <p:txBody>
          <a:bodyPr/>
          <a:lstStyle>
            <a:lvl1pPr>
              <a:defRPr sz="1214"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8" y="5515033"/>
            <a:ext cx="1156146" cy="286126"/>
          </a:xfrm>
          <a:prstGeom prst="rect">
            <a:avLst/>
          </a:prstGeom>
        </p:spPr>
        <p:txBody>
          <a:bodyPr/>
          <a:lstStyle>
            <a:lvl1pPr>
              <a:defRPr sz="1214"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3" y="1323662"/>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6" y="401271"/>
            <a:ext cx="7291929"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506"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2"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86042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2329">
          <p15:clr>
            <a:srgbClr val="FBAE40"/>
          </p15:clr>
        </p15:guide>
      </p15:sldGuideLst>
    </p:ext>
  </p:extLst>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7_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1"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white right half">
            <a:extLst>
              <a:ext uri="{FF2B5EF4-FFF2-40B4-BE49-F238E27FC236}">
                <a16:creationId xmlns:a16="http://schemas.microsoft.com/office/drawing/2014/main" id="{747CFB75-7D71-23BC-3385-9E2DF23DDCC2}"/>
              </a:ext>
            </a:extLst>
          </p:cNvPr>
          <p:cNvSpPr/>
          <p:nvPr/>
        </p:nvSpPr>
        <p:spPr>
          <a:xfrm>
            <a:off x="8131576" y="1534100"/>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8"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6" y="2966337"/>
            <a:ext cx="3130546"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5"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3" y="2661046"/>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lnSpc>
                <a:spcPct val="90000"/>
              </a:lnSpc>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7" y="1840380"/>
            <a:ext cx="3096046"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4" y="1840380"/>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3" y="2975539"/>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3" y="3677617"/>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3" y="3992109"/>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3" y="4694187"/>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3" y="5008680"/>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3" y="5710758"/>
            <a:ext cx="3615726" cy="278794"/>
          </a:xfrm>
          <a:prstGeom prst="rect">
            <a:avLst/>
          </a:prstGeom>
        </p:spPr>
        <p:txBody>
          <a:bodyPr vert="horz" wrap="square" lIns="0" tIns="17145" rIns="0" bIns="0" rtlCol="0">
            <a:spAutoFit/>
          </a:bodyPr>
          <a:lstStyle>
            <a:lvl1pPr>
              <a:defRPr lang="en-US" sz="1699"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3" y="6025250"/>
            <a:ext cx="3615726"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179141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6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4"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3" name="white right half">
            <a:extLst>
              <a:ext uri="{FF2B5EF4-FFF2-40B4-BE49-F238E27FC236}">
                <a16:creationId xmlns:a16="http://schemas.microsoft.com/office/drawing/2014/main" id="{747CFB75-7D71-23BC-3385-9E2DF23DDCC2}"/>
              </a:ext>
            </a:extLst>
          </p:cNvPr>
          <p:cNvSpPr/>
          <p:nvPr/>
        </p:nvSpPr>
        <p:spPr>
          <a:xfrm>
            <a:off x="2"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8" y="1534485"/>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5"/>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1"/>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3"/>
            <a:ext cx="2531726"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5"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3"/>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3"/>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11"/>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8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7" y="5498846"/>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7" y="6283416"/>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9" b="1">
                <a:latin typeface="Poppins" panose="00000500000000000000" pitchFamily="2" charset="0"/>
                <a:cs typeface="Poppins" panose="00000500000000000000" pitchFamily="2" charset="0"/>
              </a:defRPr>
            </a:lvl2pPr>
            <a:lvl3pPr>
              <a:defRPr sz="1699" b="1">
                <a:latin typeface="Poppins" panose="00000500000000000000" pitchFamily="2" charset="0"/>
                <a:cs typeface="Poppins" panose="00000500000000000000" pitchFamily="2" charset="0"/>
              </a:defRPr>
            </a:lvl3pPr>
            <a:lvl4pPr>
              <a:defRPr sz="1699" b="1">
                <a:latin typeface="Poppins" panose="00000500000000000000" pitchFamily="2" charset="0"/>
                <a:cs typeface="Poppins" panose="00000500000000000000" pitchFamily="2" charset="0"/>
              </a:defRPr>
            </a:lvl4pPr>
            <a:lvl5pPr>
              <a:defRPr sz="1699"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4"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9" y="1678654"/>
            <a:ext cx="3150226"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391308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8013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3_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1"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8" y="1534485"/>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4"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300" y="2854001"/>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6"/>
            <a:ext cx="2804160" cy="130677"/>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6"/>
            <a:ext cx="9445077" cy="397225"/>
          </a:xfrm>
          <a:prstGeom prst="rect">
            <a:avLst/>
          </a:prstGeom>
        </p:spPr>
        <p:txBody>
          <a:bodyPr vert="horz" wrap="square" lIns="0" tIns="11430" rIns="0" bIns="0" rtlCol="0">
            <a:spAutoFit/>
          </a:bodyPr>
          <a:lstStyle>
            <a:lvl1pPr>
              <a:defRPr lang="en-US" sz="2335" b="1" spc="-46"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7" y="2504847"/>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7" y="4769027"/>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6"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6" y="2458640"/>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300" y="4491846"/>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6" y="4122118"/>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300" y="5993796"/>
            <a:ext cx="3615726" cy="278794"/>
          </a:xfrm>
          <a:prstGeom prst="rect">
            <a:avLst/>
          </a:prstGeom>
        </p:spPr>
        <p:txBody>
          <a:bodyPr vert="horz" wrap="square" lIns="0" tIns="17145" rIns="0" bIns="0" rtlCol="0">
            <a:spAutoFit/>
          </a:bodyPr>
          <a:lstStyle>
            <a:lvl1pP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6" y="5600766"/>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70"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70"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6" cy="278794"/>
          </a:xfrm>
          <a:prstGeom prst="rect">
            <a:avLst/>
          </a:prstGeom>
        </p:spPr>
        <p:txBody>
          <a:bodyPr vert="horz" wrap="square" lIns="0" tIns="17145" rIns="0" bIns="0" rtlCol="0">
            <a:spAutoFit/>
          </a:bodyPr>
          <a:lstStyle>
            <a:lvl1pPr algn="ctr">
              <a:defRPr lang="en-US" sz="1699"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1"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1" y="1681775"/>
            <a:ext cx="5206034" cy="415870"/>
          </a:xfrm>
          <a:prstGeom prst="rect">
            <a:avLst/>
          </a:prstGeom>
        </p:spPr>
        <p:txBody>
          <a:bodyPr lIns="0" anchor="ctr"/>
          <a:lstStyle>
            <a:lvl1pPr algn="ctr">
              <a:defRPr lang="en-GB" sz="1214"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3" y="1680491"/>
            <a:ext cx="5351002" cy="415870"/>
          </a:xfrm>
          <a:prstGeom prst="rect">
            <a:avLst/>
          </a:prstGeom>
        </p:spPr>
        <p:txBody>
          <a:bodyPr lIns="0" anchor="ctr"/>
          <a:lstStyle>
            <a:lvl1pPr algn="ctr">
              <a:defRPr lang="en-GB" sz="1214"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340713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51.xml><?xml version="1.0" encoding="utf-8"?>
<p:sldLayout xmlns:a="http://schemas.openxmlformats.org/drawingml/2006/main" xmlns:r="http://schemas.openxmlformats.org/officeDocument/2006/relationships" xmlns:p="http://schemas.openxmlformats.org/presentationml/2006/main" userDrawn="1">
  <p:cSld name="16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8702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5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9812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8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white right half">
            <a:extLst>
              <a:ext uri="{FF2B5EF4-FFF2-40B4-BE49-F238E27FC236}">
                <a16:creationId xmlns:a16="http://schemas.microsoft.com/office/drawing/2014/main" id="{747CFB75-7D71-23BC-3385-9E2DF23DDCC2}"/>
              </a:ext>
            </a:extLst>
          </p:cNvPr>
          <p:cNvSpPr/>
          <p:nvPr/>
        </p:nvSpPr>
        <p:spPr>
          <a:xfrm>
            <a:off x="0"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4"/>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0"/>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2"/>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4"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1"/>
            <a:ext cx="946288" cy="784945"/>
          </a:xfrm>
          <a:prstGeom prst="rect">
            <a:avLst/>
          </a:prstGeom>
        </p:spPr>
        <p:txBody>
          <a:body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09"/>
            <a:ext cx="946288" cy="784945"/>
          </a:xfrm>
          <a:prstGeom prst="rect">
            <a:avLst/>
          </a:prstGeom>
        </p:spPr>
        <p:txBody>
          <a:body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79"/>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6" y="5498844"/>
            <a:ext cx="946288" cy="784945"/>
          </a:xfrm>
          <a:prstGeom prst="rect">
            <a:avLst/>
          </a:prstGeom>
        </p:spPr>
        <p:txBody>
          <a:body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6" y="6283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8" y="1678654"/>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379075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4_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284489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3_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183371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135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067" y="1704"/>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7" y="1704"/>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891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134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0194088"/>
              </p:ext>
            </p:extLst>
          </p:nvPr>
        </p:nvGraphicFramePr>
        <p:xfrm>
          <a:off x="2067" y="1704"/>
          <a:ext cx="1953"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067" y="1704"/>
                        <a:ext cx="1953" cy="1587"/>
                      </a:xfrm>
                      <a:prstGeom prst="rect">
                        <a:avLst/>
                      </a:prstGeom>
                    </p:spPr>
                  </p:pic>
                </p:oleObj>
              </mc:Fallback>
            </mc:AlternateContent>
          </a:graphicData>
        </a:graphic>
      </p:graphicFrame>
      <p:sp>
        <p:nvSpPr>
          <p:cNvPr id="2" name="2. Slide Title"/>
          <p:cNvSpPr>
            <a:spLocks noGrp="1"/>
          </p:cNvSpPr>
          <p:nvPr>
            <p:ph type="title"/>
          </p:nvPr>
        </p:nvSpPr>
        <p: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b="0" dirty="0">
                <a:solidFill>
                  <a:schemeClr val="accent6">
                    <a:lumMod val="50000"/>
                  </a:schemeClr>
                </a:solidFill>
              </a:defRPr>
            </a:lvl1pPr>
          </a:lstStyle>
          <a:p>
            <a:pPr lvl="0"/>
            <a:r>
              <a:rPr lang="en-GB"/>
              <a:t>Click to edit Master title style</a:t>
            </a:r>
          </a:p>
        </p:txBody>
      </p:sp>
      <p:cxnSp>
        <p:nvCxnSpPr>
          <p:cNvPr id="5" name="Straight Connector 4"/>
          <p:cNvCxnSpPr/>
          <p:nvPr userDrawn="1"/>
        </p:nvCxnSpPr>
        <p:spPr>
          <a:xfrm>
            <a:off x="266320" y="854015"/>
            <a:ext cx="1056315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06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133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8350891"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11707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4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0"/>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8"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6"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55"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32"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409" indent="-173298">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4192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1586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2_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6" y="2457059"/>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5"/>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1"/>
            <a:ext cx="5307105" cy="5147351"/>
          </a:xfrm>
          <a:prstGeom prst="rect">
            <a:avLst/>
          </a:prstGeom>
        </p:spPr>
        <p:txBody>
          <a:bodyPr/>
          <a:lstStyle/>
          <a:p>
            <a:endParaRPr lang="en-GB"/>
          </a:p>
        </p:txBody>
      </p:sp>
    </p:spTree>
    <p:extLst>
      <p:ext uri="{BB962C8B-B14F-4D97-AF65-F5344CB8AC3E}">
        <p14:creationId xmlns:p14="http://schemas.microsoft.com/office/powerpoint/2010/main" val="304674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51_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9725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50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5929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49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4669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48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6"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8137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4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6"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20706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4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7239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4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7701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22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6444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21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82"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9"/>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48688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248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6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5"/>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8"/>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0"/>
            <a:ext cx="4898365" cy="386260"/>
          </a:xfrm>
          <a:prstGeom prst="rect">
            <a:avLst/>
          </a:prstGeom>
        </p:spPr>
        <p:txBody>
          <a:bodyPr>
            <a:spAutoFit/>
          </a:bodyPr>
          <a:lstStyle>
            <a:lvl1pPr>
              <a:tabLst>
                <a:tab pos="56804"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4118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2_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3"/>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0"/>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3"/>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2"/>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002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171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918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70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7811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169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3449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16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2261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16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09040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16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1114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16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1094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16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5896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7147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161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292211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159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6371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158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9"/>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004055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157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8"/>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559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156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755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5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38800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15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5160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152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82"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84349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15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1740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15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11376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a:p>
        </p:txBody>
      </p:sp>
    </p:spTree>
    <p:extLst>
      <p:ext uri="{BB962C8B-B14F-4D97-AF65-F5344CB8AC3E}">
        <p14:creationId xmlns:p14="http://schemas.microsoft.com/office/powerpoint/2010/main" val="152662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14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3530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14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217306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147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40"/>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82"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40"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40"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40"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40"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40"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40"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82"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82" lvl="0">
              <a:lnSpc>
                <a:spcPts val="1831"/>
              </a:lnSpc>
              <a:spcBef>
                <a:spcPts val="2514"/>
              </a:spcBef>
            </a:pPr>
            <a:r>
              <a:rPr lang="en-US"/>
              <a:t>Title: Description/Details</a:t>
            </a:r>
          </a:p>
        </p:txBody>
      </p:sp>
    </p:spTree>
    <p:extLst>
      <p:ext uri="{BB962C8B-B14F-4D97-AF65-F5344CB8AC3E}">
        <p14:creationId xmlns:p14="http://schemas.microsoft.com/office/powerpoint/2010/main" val="214088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146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42709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45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03014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14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73590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14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51943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14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29887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140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6" y="1993406"/>
            <a:ext cx="3612539" cy="1572989"/>
          </a:xfrm>
          <a:prstGeom prst="rect">
            <a:avLst/>
          </a:prstGeom>
        </p:spPr>
        <p:txBody>
          <a:bodyPr/>
          <a:lstStyle>
            <a:lvl1pPr marL="173281"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9"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36"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14"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92" indent="-173281">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5"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22385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Layouts/slideLayout999.xml><?xml version="1.0" encoding="utf-8"?>
<p:sldLayout xmlns:a="http://schemas.openxmlformats.org/drawingml/2006/main" xmlns:r="http://schemas.openxmlformats.org/officeDocument/2006/relationships" xmlns:p="http://schemas.openxmlformats.org/presentationml/2006/main" userDrawn="1">
  <p:cSld name="136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8350891" cy="1572989"/>
          </a:xfrm>
          <a:prstGeom prst="rect">
            <a:avLst/>
          </a:prstGeom>
        </p:spPr>
        <p:txBody>
          <a:bodyPr/>
          <a:lstStyle>
            <a:lvl1pPr marL="173281"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9"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36"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14"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92" indent="-173281">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82417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30.xml"/><Relationship Id="rId21" Type="http://schemas.openxmlformats.org/officeDocument/2006/relationships/slideLayout" Target="../slideLayouts/slideLayout34.xml"/><Relationship Id="rId324" Type="http://schemas.openxmlformats.org/officeDocument/2006/relationships/slideLayout" Target="../slideLayouts/slideLayout337.xml"/><Relationship Id="rId531" Type="http://schemas.openxmlformats.org/officeDocument/2006/relationships/slideLayout" Target="../slideLayouts/slideLayout544.xml"/><Relationship Id="rId170" Type="http://schemas.openxmlformats.org/officeDocument/2006/relationships/slideLayout" Target="../slideLayouts/slideLayout183.xml"/><Relationship Id="rId268" Type="http://schemas.openxmlformats.org/officeDocument/2006/relationships/slideLayout" Target="../slideLayouts/slideLayout281.xml"/><Relationship Id="rId475" Type="http://schemas.openxmlformats.org/officeDocument/2006/relationships/slideLayout" Target="../slideLayouts/slideLayout488.xml"/><Relationship Id="rId32" Type="http://schemas.openxmlformats.org/officeDocument/2006/relationships/slideLayout" Target="../slideLayouts/slideLayout45.xml"/><Relationship Id="rId128" Type="http://schemas.openxmlformats.org/officeDocument/2006/relationships/slideLayout" Target="../slideLayouts/slideLayout141.xml"/><Relationship Id="rId335" Type="http://schemas.openxmlformats.org/officeDocument/2006/relationships/slideLayout" Target="../slideLayouts/slideLayout348.xml"/><Relationship Id="rId542" Type="http://schemas.openxmlformats.org/officeDocument/2006/relationships/theme" Target="../theme/theme2.xml"/><Relationship Id="rId181" Type="http://schemas.openxmlformats.org/officeDocument/2006/relationships/slideLayout" Target="../slideLayouts/slideLayout194.xml"/><Relationship Id="rId402" Type="http://schemas.openxmlformats.org/officeDocument/2006/relationships/slideLayout" Target="../slideLayouts/slideLayout415.xml"/><Relationship Id="rId279" Type="http://schemas.openxmlformats.org/officeDocument/2006/relationships/slideLayout" Target="../slideLayouts/slideLayout292.xml"/><Relationship Id="rId486" Type="http://schemas.openxmlformats.org/officeDocument/2006/relationships/slideLayout" Target="../slideLayouts/slideLayout499.xml"/><Relationship Id="rId43" Type="http://schemas.openxmlformats.org/officeDocument/2006/relationships/slideLayout" Target="../slideLayouts/slideLayout56.xml"/><Relationship Id="rId139" Type="http://schemas.openxmlformats.org/officeDocument/2006/relationships/slideLayout" Target="../slideLayouts/slideLayout152.xml"/><Relationship Id="rId346" Type="http://schemas.openxmlformats.org/officeDocument/2006/relationships/slideLayout" Target="../slideLayouts/slideLayout359.xml"/><Relationship Id="rId85" Type="http://schemas.openxmlformats.org/officeDocument/2006/relationships/slideLayout" Target="../slideLayouts/slideLayout98.xml"/><Relationship Id="rId150" Type="http://schemas.openxmlformats.org/officeDocument/2006/relationships/slideLayout" Target="../slideLayouts/slideLayout163.xml"/><Relationship Id="rId192" Type="http://schemas.openxmlformats.org/officeDocument/2006/relationships/slideLayout" Target="../slideLayouts/slideLayout205.xml"/><Relationship Id="rId206" Type="http://schemas.openxmlformats.org/officeDocument/2006/relationships/slideLayout" Target="../slideLayouts/slideLayout219.xml"/><Relationship Id="rId413" Type="http://schemas.openxmlformats.org/officeDocument/2006/relationships/slideLayout" Target="../slideLayouts/slideLayout426.xml"/><Relationship Id="rId248" Type="http://schemas.openxmlformats.org/officeDocument/2006/relationships/slideLayout" Target="../slideLayouts/slideLayout261.xml"/><Relationship Id="rId455" Type="http://schemas.openxmlformats.org/officeDocument/2006/relationships/slideLayout" Target="../slideLayouts/slideLayout468.xml"/><Relationship Id="rId497" Type="http://schemas.openxmlformats.org/officeDocument/2006/relationships/slideLayout" Target="../slideLayouts/slideLayout510.xml"/><Relationship Id="rId12" Type="http://schemas.openxmlformats.org/officeDocument/2006/relationships/slideLayout" Target="../slideLayouts/slideLayout25.xml"/><Relationship Id="rId108" Type="http://schemas.openxmlformats.org/officeDocument/2006/relationships/slideLayout" Target="../slideLayouts/slideLayout121.xml"/><Relationship Id="rId315" Type="http://schemas.openxmlformats.org/officeDocument/2006/relationships/slideLayout" Target="../slideLayouts/slideLayout328.xml"/><Relationship Id="rId357" Type="http://schemas.openxmlformats.org/officeDocument/2006/relationships/slideLayout" Target="../slideLayouts/slideLayout370.xml"/><Relationship Id="rId522" Type="http://schemas.openxmlformats.org/officeDocument/2006/relationships/slideLayout" Target="../slideLayouts/slideLayout535.xml"/><Relationship Id="rId54" Type="http://schemas.openxmlformats.org/officeDocument/2006/relationships/slideLayout" Target="../slideLayouts/slideLayout67.xml"/><Relationship Id="rId96" Type="http://schemas.openxmlformats.org/officeDocument/2006/relationships/slideLayout" Target="../slideLayouts/slideLayout109.xml"/><Relationship Id="rId161" Type="http://schemas.openxmlformats.org/officeDocument/2006/relationships/slideLayout" Target="../slideLayouts/slideLayout174.xml"/><Relationship Id="rId217" Type="http://schemas.openxmlformats.org/officeDocument/2006/relationships/slideLayout" Target="../slideLayouts/slideLayout230.xml"/><Relationship Id="rId399" Type="http://schemas.openxmlformats.org/officeDocument/2006/relationships/slideLayout" Target="../slideLayouts/slideLayout412.xml"/><Relationship Id="rId259" Type="http://schemas.openxmlformats.org/officeDocument/2006/relationships/slideLayout" Target="../slideLayouts/slideLayout272.xml"/><Relationship Id="rId424" Type="http://schemas.openxmlformats.org/officeDocument/2006/relationships/slideLayout" Target="../slideLayouts/slideLayout437.xml"/><Relationship Id="rId466" Type="http://schemas.openxmlformats.org/officeDocument/2006/relationships/slideLayout" Target="../slideLayouts/slideLayout479.xml"/><Relationship Id="rId23" Type="http://schemas.openxmlformats.org/officeDocument/2006/relationships/slideLayout" Target="../slideLayouts/slideLayout36.xml"/><Relationship Id="rId119" Type="http://schemas.openxmlformats.org/officeDocument/2006/relationships/slideLayout" Target="../slideLayouts/slideLayout132.xml"/><Relationship Id="rId270" Type="http://schemas.openxmlformats.org/officeDocument/2006/relationships/slideLayout" Target="../slideLayouts/slideLayout283.xml"/><Relationship Id="rId326" Type="http://schemas.openxmlformats.org/officeDocument/2006/relationships/slideLayout" Target="../slideLayouts/slideLayout339.xml"/><Relationship Id="rId533" Type="http://schemas.openxmlformats.org/officeDocument/2006/relationships/slideLayout" Target="../slideLayouts/slideLayout546.xml"/><Relationship Id="rId65" Type="http://schemas.openxmlformats.org/officeDocument/2006/relationships/slideLayout" Target="../slideLayouts/slideLayout78.xml"/><Relationship Id="rId130" Type="http://schemas.openxmlformats.org/officeDocument/2006/relationships/slideLayout" Target="../slideLayouts/slideLayout143.xml"/><Relationship Id="rId368" Type="http://schemas.openxmlformats.org/officeDocument/2006/relationships/slideLayout" Target="../slideLayouts/slideLayout381.xml"/><Relationship Id="rId172" Type="http://schemas.openxmlformats.org/officeDocument/2006/relationships/slideLayout" Target="../slideLayouts/slideLayout185.xml"/><Relationship Id="rId228" Type="http://schemas.openxmlformats.org/officeDocument/2006/relationships/slideLayout" Target="../slideLayouts/slideLayout241.xml"/><Relationship Id="rId435" Type="http://schemas.openxmlformats.org/officeDocument/2006/relationships/slideLayout" Target="../slideLayouts/slideLayout448.xml"/><Relationship Id="rId477" Type="http://schemas.openxmlformats.org/officeDocument/2006/relationships/slideLayout" Target="../slideLayouts/slideLayout490.xml"/><Relationship Id="rId281" Type="http://schemas.openxmlformats.org/officeDocument/2006/relationships/slideLayout" Target="../slideLayouts/slideLayout294.xml"/><Relationship Id="rId337" Type="http://schemas.openxmlformats.org/officeDocument/2006/relationships/slideLayout" Target="../slideLayouts/slideLayout350.xml"/><Relationship Id="rId502" Type="http://schemas.openxmlformats.org/officeDocument/2006/relationships/slideLayout" Target="../slideLayouts/slideLayout515.xml"/><Relationship Id="rId34" Type="http://schemas.openxmlformats.org/officeDocument/2006/relationships/slideLayout" Target="../slideLayouts/slideLayout47.xml"/><Relationship Id="rId76" Type="http://schemas.openxmlformats.org/officeDocument/2006/relationships/slideLayout" Target="../slideLayouts/slideLayout89.xml"/><Relationship Id="rId141" Type="http://schemas.openxmlformats.org/officeDocument/2006/relationships/slideLayout" Target="../slideLayouts/slideLayout154.xml"/><Relationship Id="rId379" Type="http://schemas.openxmlformats.org/officeDocument/2006/relationships/slideLayout" Target="../slideLayouts/slideLayout392.xml"/><Relationship Id="rId7" Type="http://schemas.openxmlformats.org/officeDocument/2006/relationships/slideLayout" Target="../slideLayouts/slideLayout20.xml"/><Relationship Id="rId183" Type="http://schemas.openxmlformats.org/officeDocument/2006/relationships/slideLayout" Target="../slideLayouts/slideLayout196.xml"/><Relationship Id="rId239" Type="http://schemas.openxmlformats.org/officeDocument/2006/relationships/slideLayout" Target="../slideLayouts/slideLayout252.xml"/><Relationship Id="rId390" Type="http://schemas.openxmlformats.org/officeDocument/2006/relationships/slideLayout" Target="../slideLayouts/slideLayout403.xml"/><Relationship Id="rId404" Type="http://schemas.openxmlformats.org/officeDocument/2006/relationships/slideLayout" Target="../slideLayouts/slideLayout417.xml"/><Relationship Id="rId446" Type="http://schemas.openxmlformats.org/officeDocument/2006/relationships/slideLayout" Target="../slideLayouts/slideLayout459.xml"/><Relationship Id="rId250" Type="http://schemas.openxmlformats.org/officeDocument/2006/relationships/slideLayout" Target="../slideLayouts/slideLayout263.xml"/><Relationship Id="rId292" Type="http://schemas.openxmlformats.org/officeDocument/2006/relationships/slideLayout" Target="../slideLayouts/slideLayout305.xml"/><Relationship Id="rId306" Type="http://schemas.openxmlformats.org/officeDocument/2006/relationships/slideLayout" Target="../slideLayouts/slideLayout319.xml"/><Relationship Id="rId488" Type="http://schemas.openxmlformats.org/officeDocument/2006/relationships/slideLayout" Target="../slideLayouts/slideLayout501.xml"/><Relationship Id="rId45" Type="http://schemas.openxmlformats.org/officeDocument/2006/relationships/slideLayout" Target="../slideLayouts/slideLayout58.xml"/><Relationship Id="rId87" Type="http://schemas.openxmlformats.org/officeDocument/2006/relationships/slideLayout" Target="../slideLayouts/slideLayout100.xml"/><Relationship Id="rId110" Type="http://schemas.openxmlformats.org/officeDocument/2006/relationships/slideLayout" Target="../slideLayouts/slideLayout123.xml"/><Relationship Id="rId348" Type="http://schemas.openxmlformats.org/officeDocument/2006/relationships/slideLayout" Target="../slideLayouts/slideLayout361.xml"/><Relationship Id="rId513" Type="http://schemas.openxmlformats.org/officeDocument/2006/relationships/slideLayout" Target="../slideLayouts/slideLayout526.xml"/><Relationship Id="rId152" Type="http://schemas.openxmlformats.org/officeDocument/2006/relationships/slideLayout" Target="../slideLayouts/slideLayout165.xml"/><Relationship Id="rId194" Type="http://schemas.openxmlformats.org/officeDocument/2006/relationships/slideLayout" Target="../slideLayouts/slideLayout207.xml"/><Relationship Id="rId208" Type="http://schemas.openxmlformats.org/officeDocument/2006/relationships/slideLayout" Target="../slideLayouts/slideLayout221.xml"/><Relationship Id="rId415" Type="http://schemas.openxmlformats.org/officeDocument/2006/relationships/slideLayout" Target="../slideLayouts/slideLayout428.xml"/><Relationship Id="rId457" Type="http://schemas.openxmlformats.org/officeDocument/2006/relationships/slideLayout" Target="../slideLayouts/slideLayout470.xml"/><Relationship Id="rId261" Type="http://schemas.openxmlformats.org/officeDocument/2006/relationships/slideLayout" Target="../slideLayouts/slideLayout274.xml"/><Relationship Id="rId499" Type="http://schemas.openxmlformats.org/officeDocument/2006/relationships/slideLayout" Target="../slideLayouts/slideLayout512.xml"/><Relationship Id="rId14" Type="http://schemas.openxmlformats.org/officeDocument/2006/relationships/slideLayout" Target="../slideLayouts/slideLayout27.xml"/><Relationship Id="rId56" Type="http://schemas.openxmlformats.org/officeDocument/2006/relationships/slideLayout" Target="../slideLayouts/slideLayout69.xml"/><Relationship Id="rId317" Type="http://schemas.openxmlformats.org/officeDocument/2006/relationships/slideLayout" Target="../slideLayouts/slideLayout330.xml"/><Relationship Id="rId359" Type="http://schemas.openxmlformats.org/officeDocument/2006/relationships/slideLayout" Target="../slideLayouts/slideLayout372.xml"/><Relationship Id="rId524" Type="http://schemas.openxmlformats.org/officeDocument/2006/relationships/slideLayout" Target="../slideLayouts/slideLayout537.xml"/><Relationship Id="rId98" Type="http://schemas.openxmlformats.org/officeDocument/2006/relationships/slideLayout" Target="../slideLayouts/slideLayout111.xml"/><Relationship Id="rId121" Type="http://schemas.openxmlformats.org/officeDocument/2006/relationships/slideLayout" Target="../slideLayouts/slideLayout134.xml"/><Relationship Id="rId163" Type="http://schemas.openxmlformats.org/officeDocument/2006/relationships/slideLayout" Target="../slideLayouts/slideLayout176.xml"/><Relationship Id="rId219" Type="http://schemas.openxmlformats.org/officeDocument/2006/relationships/slideLayout" Target="../slideLayouts/slideLayout232.xml"/><Relationship Id="rId370" Type="http://schemas.openxmlformats.org/officeDocument/2006/relationships/slideLayout" Target="../slideLayouts/slideLayout383.xml"/><Relationship Id="rId426" Type="http://schemas.openxmlformats.org/officeDocument/2006/relationships/slideLayout" Target="../slideLayouts/slideLayout439.xml"/><Relationship Id="rId230" Type="http://schemas.openxmlformats.org/officeDocument/2006/relationships/slideLayout" Target="../slideLayouts/slideLayout243.xml"/><Relationship Id="rId468" Type="http://schemas.openxmlformats.org/officeDocument/2006/relationships/slideLayout" Target="../slideLayouts/slideLayout481.xml"/><Relationship Id="rId25" Type="http://schemas.openxmlformats.org/officeDocument/2006/relationships/slideLayout" Target="../slideLayouts/slideLayout38.xml"/><Relationship Id="rId67" Type="http://schemas.openxmlformats.org/officeDocument/2006/relationships/slideLayout" Target="../slideLayouts/slideLayout80.xml"/><Relationship Id="rId272" Type="http://schemas.openxmlformats.org/officeDocument/2006/relationships/slideLayout" Target="../slideLayouts/slideLayout285.xml"/><Relationship Id="rId328" Type="http://schemas.openxmlformats.org/officeDocument/2006/relationships/slideLayout" Target="../slideLayouts/slideLayout341.xml"/><Relationship Id="rId535" Type="http://schemas.openxmlformats.org/officeDocument/2006/relationships/slideLayout" Target="../slideLayouts/slideLayout548.xml"/><Relationship Id="rId132" Type="http://schemas.openxmlformats.org/officeDocument/2006/relationships/slideLayout" Target="../slideLayouts/slideLayout145.xml"/><Relationship Id="rId174" Type="http://schemas.openxmlformats.org/officeDocument/2006/relationships/slideLayout" Target="../slideLayouts/slideLayout187.xml"/><Relationship Id="rId381" Type="http://schemas.openxmlformats.org/officeDocument/2006/relationships/slideLayout" Target="../slideLayouts/slideLayout394.xml"/><Relationship Id="rId241" Type="http://schemas.openxmlformats.org/officeDocument/2006/relationships/slideLayout" Target="../slideLayouts/slideLayout254.xml"/><Relationship Id="rId437" Type="http://schemas.openxmlformats.org/officeDocument/2006/relationships/slideLayout" Target="../slideLayouts/slideLayout450.xml"/><Relationship Id="rId479" Type="http://schemas.openxmlformats.org/officeDocument/2006/relationships/slideLayout" Target="../slideLayouts/slideLayout492.xml"/><Relationship Id="rId36" Type="http://schemas.openxmlformats.org/officeDocument/2006/relationships/slideLayout" Target="../slideLayouts/slideLayout49.xml"/><Relationship Id="rId283" Type="http://schemas.openxmlformats.org/officeDocument/2006/relationships/slideLayout" Target="../slideLayouts/slideLayout296.xml"/><Relationship Id="rId339" Type="http://schemas.openxmlformats.org/officeDocument/2006/relationships/slideLayout" Target="../slideLayouts/slideLayout352.xml"/><Relationship Id="rId490" Type="http://schemas.openxmlformats.org/officeDocument/2006/relationships/slideLayout" Target="../slideLayouts/slideLayout503.xml"/><Relationship Id="rId504" Type="http://schemas.openxmlformats.org/officeDocument/2006/relationships/slideLayout" Target="../slideLayouts/slideLayout517.xml"/><Relationship Id="rId78" Type="http://schemas.openxmlformats.org/officeDocument/2006/relationships/slideLayout" Target="../slideLayouts/slideLayout91.xml"/><Relationship Id="rId101" Type="http://schemas.openxmlformats.org/officeDocument/2006/relationships/slideLayout" Target="../slideLayouts/slideLayout114.xml"/><Relationship Id="rId143" Type="http://schemas.openxmlformats.org/officeDocument/2006/relationships/slideLayout" Target="../slideLayouts/slideLayout156.xml"/><Relationship Id="rId185" Type="http://schemas.openxmlformats.org/officeDocument/2006/relationships/slideLayout" Target="../slideLayouts/slideLayout198.xml"/><Relationship Id="rId350" Type="http://schemas.openxmlformats.org/officeDocument/2006/relationships/slideLayout" Target="../slideLayouts/slideLayout363.xml"/><Relationship Id="rId406" Type="http://schemas.openxmlformats.org/officeDocument/2006/relationships/slideLayout" Target="../slideLayouts/slideLayout419.xml"/><Relationship Id="rId9" Type="http://schemas.openxmlformats.org/officeDocument/2006/relationships/slideLayout" Target="../slideLayouts/slideLayout22.xml"/><Relationship Id="rId210" Type="http://schemas.openxmlformats.org/officeDocument/2006/relationships/slideLayout" Target="../slideLayouts/slideLayout223.xml"/><Relationship Id="rId392" Type="http://schemas.openxmlformats.org/officeDocument/2006/relationships/slideLayout" Target="../slideLayouts/slideLayout405.xml"/><Relationship Id="rId448" Type="http://schemas.openxmlformats.org/officeDocument/2006/relationships/slideLayout" Target="../slideLayouts/slideLayout461.xml"/><Relationship Id="rId252" Type="http://schemas.openxmlformats.org/officeDocument/2006/relationships/slideLayout" Target="../slideLayouts/slideLayout265.xml"/><Relationship Id="rId294" Type="http://schemas.openxmlformats.org/officeDocument/2006/relationships/slideLayout" Target="../slideLayouts/slideLayout307.xml"/><Relationship Id="rId308" Type="http://schemas.openxmlformats.org/officeDocument/2006/relationships/slideLayout" Target="../slideLayouts/slideLayout321.xml"/><Relationship Id="rId515" Type="http://schemas.openxmlformats.org/officeDocument/2006/relationships/slideLayout" Target="../slideLayouts/slideLayout528.xml"/><Relationship Id="rId47" Type="http://schemas.openxmlformats.org/officeDocument/2006/relationships/slideLayout" Target="../slideLayouts/slideLayout60.xml"/><Relationship Id="rId89" Type="http://schemas.openxmlformats.org/officeDocument/2006/relationships/slideLayout" Target="../slideLayouts/slideLayout102.xml"/><Relationship Id="rId112" Type="http://schemas.openxmlformats.org/officeDocument/2006/relationships/slideLayout" Target="../slideLayouts/slideLayout125.xml"/><Relationship Id="rId154" Type="http://schemas.openxmlformats.org/officeDocument/2006/relationships/slideLayout" Target="../slideLayouts/slideLayout167.xml"/><Relationship Id="rId361" Type="http://schemas.openxmlformats.org/officeDocument/2006/relationships/slideLayout" Target="../slideLayouts/slideLayout374.xml"/><Relationship Id="rId196" Type="http://schemas.openxmlformats.org/officeDocument/2006/relationships/slideLayout" Target="../slideLayouts/slideLayout209.xml"/><Relationship Id="rId417" Type="http://schemas.openxmlformats.org/officeDocument/2006/relationships/slideLayout" Target="../slideLayouts/slideLayout430.xml"/><Relationship Id="rId459" Type="http://schemas.openxmlformats.org/officeDocument/2006/relationships/slideLayout" Target="../slideLayouts/slideLayout472.xml"/><Relationship Id="rId16" Type="http://schemas.openxmlformats.org/officeDocument/2006/relationships/slideLayout" Target="../slideLayouts/slideLayout29.xml"/><Relationship Id="rId221" Type="http://schemas.openxmlformats.org/officeDocument/2006/relationships/slideLayout" Target="../slideLayouts/slideLayout234.xml"/><Relationship Id="rId263" Type="http://schemas.openxmlformats.org/officeDocument/2006/relationships/slideLayout" Target="../slideLayouts/slideLayout276.xml"/><Relationship Id="rId319" Type="http://schemas.openxmlformats.org/officeDocument/2006/relationships/slideLayout" Target="../slideLayouts/slideLayout332.xml"/><Relationship Id="rId470" Type="http://schemas.openxmlformats.org/officeDocument/2006/relationships/slideLayout" Target="../slideLayouts/slideLayout483.xml"/><Relationship Id="rId526" Type="http://schemas.openxmlformats.org/officeDocument/2006/relationships/slideLayout" Target="../slideLayouts/slideLayout539.xml"/><Relationship Id="rId58" Type="http://schemas.openxmlformats.org/officeDocument/2006/relationships/slideLayout" Target="../slideLayouts/slideLayout71.xml"/><Relationship Id="rId123" Type="http://schemas.openxmlformats.org/officeDocument/2006/relationships/slideLayout" Target="../slideLayouts/slideLayout136.xml"/><Relationship Id="rId330" Type="http://schemas.openxmlformats.org/officeDocument/2006/relationships/slideLayout" Target="../slideLayouts/slideLayout343.xml"/><Relationship Id="rId165" Type="http://schemas.openxmlformats.org/officeDocument/2006/relationships/slideLayout" Target="../slideLayouts/slideLayout178.xml"/><Relationship Id="rId372" Type="http://schemas.openxmlformats.org/officeDocument/2006/relationships/slideLayout" Target="../slideLayouts/slideLayout385.xml"/><Relationship Id="rId428" Type="http://schemas.openxmlformats.org/officeDocument/2006/relationships/slideLayout" Target="../slideLayouts/slideLayout441.xml"/><Relationship Id="rId232" Type="http://schemas.openxmlformats.org/officeDocument/2006/relationships/slideLayout" Target="../slideLayouts/slideLayout245.xml"/><Relationship Id="rId274" Type="http://schemas.openxmlformats.org/officeDocument/2006/relationships/slideLayout" Target="../slideLayouts/slideLayout287.xml"/><Relationship Id="rId481" Type="http://schemas.openxmlformats.org/officeDocument/2006/relationships/slideLayout" Target="../slideLayouts/slideLayout494.xml"/><Relationship Id="rId27" Type="http://schemas.openxmlformats.org/officeDocument/2006/relationships/slideLayout" Target="../slideLayouts/slideLayout40.xml"/><Relationship Id="rId69" Type="http://schemas.openxmlformats.org/officeDocument/2006/relationships/slideLayout" Target="../slideLayouts/slideLayout82.xml"/><Relationship Id="rId134" Type="http://schemas.openxmlformats.org/officeDocument/2006/relationships/slideLayout" Target="../slideLayouts/slideLayout147.xml"/><Relationship Id="rId537" Type="http://schemas.openxmlformats.org/officeDocument/2006/relationships/slideLayout" Target="../slideLayouts/slideLayout550.xml"/><Relationship Id="rId80" Type="http://schemas.openxmlformats.org/officeDocument/2006/relationships/slideLayout" Target="../slideLayouts/slideLayout93.xml"/><Relationship Id="rId176" Type="http://schemas.openxmlformats.org/officeDocument/2006/relationships/slideLayout" Target="../slideLayouts/slideLayout189.xml"/><Relationship Id="rId341" Type="http://schemas.openxmlformats.org/officeDocument/2006/relationships/slideLayout" Target="../slideLayouts/slideLayout354.xml"/><Relationship Id="rId383" Type="http://schemas.openxmlformats.org/officeDocument/2006/relationships/slideLayout" Target="../slideLayouts/slideLayout396.xml"/><Relationship Id="rId439" Type="http://schemas.openxmlformats.org/officeDocument/2006/relationships/slideLayout" Target="../slideLayouts/slideLayout452.xml"/><Relationship Id="rId201" Type="http://schemas.openxmlformats.org/officeDocument/2006/relationships/slideLayout" Target="../slideLayouts/slideLayout214.xml"/><Relationship Id="rId243" Type="http://schemas.openxmlformats.org/officeDocument/2006/relationships/slideLayout" Target="../slideLayouts/slideLayout256.xml"/><Relationship Id="rId285" Type="http://schemas.openxmlformats.org/officeDocument/2006/relationships/slideLayout" Target="../slideLayouts/slideLayout298.xml"/><Relationship Id="rId450" Type="http://schemas.openxmlformats.org/officeDocument/2006/relationships/slideLayout" Target="../slideLayouts/slideLayout463.xml"/><Relationship Id="rId506" Type="http://schemas.openxmlformats.org/officeDocument/2006/relationships/slideLayout" Target="../slideLayouts/slideLayout519.xml"/><Relationship Id="rId38" Type="http://schemas.openxmlformats.org/officeDocument/2006/relationships/slideLayout" Target="../slideLayouts/slideLayout51.xml"/><Relationship Id="rId103" Type="http://schemas.openxmlformats.org/officeDocument/2006/relationships/slideLayout" Target="../slideLayouts/slideLayout116.xml"/><Relationship Id="rId310" Type="http://schemas.openxmlformats.org/officeDocument/2006/relationships/slideLayout" Target="../slideLayouts/slideLayout323.xml"/><Relationship Id="rId492" Type="http://schemas.openxmlformats.org/officeDocument/2006/relationships/slideLayout" Target="../slideLayouts/slideLayout505.xml"/><Relationship Id="rId91" Type="http://schemas.openxmlformats.org/officeDocument/2006/relationships/slideLayout" Target="../slideLayouts/slideLayout104.xml"/><Relationship Id="rId145" Type="http://schemas.openxmlformats.org/officeDocument/2006/relationships/slideLayout" Target="../slideLayouts/slideLayout158.xml"/><Relationship Id="rId187" Type="http://schemas.openxmlformats.org/officeDocument/2006/relationships/slideLayout" Target="../slideLayouts/slideLayout200.xml"/><Relationship Id="rId352" Type="http://schemas.openxmlformats.org/officeDocument/2006/relationships/slideLayout" Target="../slideLayouts/slideLayout365.xml"/><Relationship Id="rId394" Type="http://schemas.openxmlformats.org/officeDocument/2006/relationships/slideLayout" Target="../slideLayouts/slideLayout407.xml"/><Relationship Id="rId408" Type="http://schemas.openxmlformats.org/officeDocument/2006/relationships/slideLayout" Target="../slideLayouts/slideLayout421.xml"/><Relationship Id="rId212" Type="http://schemas.openxmlformats.org/officeDocument/2006/relationships/slideLayout" Target="../slideLayouts/slideLayout225.xml"/><Relationship Id="rId254" Type="http://schemas.openxmlformats.org/officeDocument/2006/relationships/slideLayout" Target="../slideLayouts/slideLayout267.xml"/><Relationship Id="rId49" Type="http://schemas.openxmlformats.org/officeDocument/2006/relationships/slideLayout" Target="../slideLayouts/slideLayout62.xml"/><Relationship Id="rId114" Type="http://schemas.openxmlformats.org/officeDocument/2006/relationships/slideLayout" Target="../slideLayouts/slideLayout127.xml"/><Relationship Id="rId296" Type="http://schemas.openxmlformats.org/officeDocument/2006/relationships/slideLayout" Target="../slideLayouts/slideLayout309.xml"/><Relationship Id="rId461" Type="http://schemas.openxmlformats.org/officeDocument/2006/relationships/slideLayout" Target="../slideLayouts/slideLayout474.xml"/><Relationship Id="rId517" Type="http://schemas.openxmlformats.org/officeDocument/2006/relationships/slideLayout" Target="../slideLayouts/slideLayout530.xml"/><Relationship Id="rId60" Type="http://schemas.openxmlformats.org/officeDocument/2006/relationships/slideLayout" Target="../slideLayouts/slideLayout73.xml"/><Relationship Id="rId156" Type="http://schemas.openxmlformats.org/officeDocument/2006/relationships/slideLayout" Target="../slideLayouts/slideLayout169.xml"/><Relationship Id="rId198" Type="http://schemas.openxmlformats.org/officeDocument/2006/relationships/slideLayout" Target="../slideLayouts/slideLayout211.xml"/><Relationship Id="rId321" Type="http://schemas.openxmlformats.org/officeDocument/2006/relationships/slideLayout" Target="../slideLayouts/slideLayout334.xml"/><Relationship Id="rId363" Type="http://schemas.openxmlformats.org/officeDocument/2006/relationships/slideLayout" Target="../slideLayouts/slideLayout376.xml"/><Relationship Id="rId419" Type="http://schemas.openxmlformats.org/officeDocument/2006/relationships/slideLayout" Target="../slideLayouts/slideLayout432.xml"/><Relationship Id="rId223" Type="http://schemas.openxmlformats.org/officeDocument/2006/relationships/slideLayout" Target="../slideLayouts/slideLayout236.xml"/><Relationship Id="rId430" Type="http://schemas.openxmlformats.org/officeDocument/2006/relationships/slideLayout" Target="../slideLayouts/slideLayout443.xml"/><Relationship Id="rId18" Type="http://schemas.openxmlformats.org/officeDocument/2006/relationships/slideLayout" Target="../slideLayouts/slideLayout31.xml"/><Relationship Id="rId265" Type="http://schemas.openxmlformats.org/officeDocument/2006/relationships/slideLayout" Target="../slideLayouts/slideLayout278.xml"/><Relationship Id="rId472" Type="http://schemas.openxmlformats.org/officeDocument/2006/relationships/slideLayout" Target="../slideLayouts/slideLayout485.xml"/><Relationship Id="rId528" Type="http://schemas.openxmlformats.org/officeDocument/2006/relationships/slideLayout" Target="../slideLayouts/slideLayout541.xml"/><Relationship Id="rId125" Type="http://schemas.openxmlformats.org/officeDocument/2006/relationships/slideLayout" Target="../slideLayouts/slideLayout138.xml"/><Relationship Id="rId167" Type="http://schemas.openxmlformats.org/officeDocument/2006/relationships/slideLayout" Target="../slideLayouts/slideLayout180.xml"/><Relationship Id="rId332" Type="http://schemas.openxmlformats.org/officeDocument/2006/relationships/slideLayout" Target="../slideLayouts/slideLayout345.xml"/><Relationship Id="rId374" Type="http://schemas.openxmlformats.org/officeDocument/2006/relationships/slideLayout" Target="../slideLayouts/slideLayout387.xml"/><Relationship Id="rId71" Type="http://schemas.openxmlformats.org/officeDocument/2006/relationships/slideLayout" Target="../slideLayouts/slideLayout84.xml"/><Relationship Id="rId234" Type="http://schemas.openxmlformats.org/officeDocument/2006/relationships/slideLayout" Target="../slideLayouts/slideLayout247.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76" Type="http://schemas.openxmlformats.org/officeDocument/2006/relationships/slideLayout" Target="../slideLayouts/slideLayout289.xml"/><Relationship Id="rId441" Type="http://schemas.openxmlformats.org/officeDocument/2006/relationships/slideLayout" Target="../slideLayouts/slideLayout454.xml"/><Relationship Id="rId483" Type="http://schemas.openxmlformats.org/officeDocument/2006/relationships/slideLayout" Target="../slideLayouts/slideLayout496.xml"/><Relationship Id="rId539" Type="http://schemas.openxmlformats.org/officeDocument/2006/relationships/slideLayout" Target="../slideLayouts/slideLayout552.xml"/><Relationship Id="rId40" Type="http://schemas.openxmlformats.org/officeDocument/2006/relationships/slideLayout" Target="../slideLayouts/slideLayout53.xml"/><Relationship Id="rId136" Type="http://schemas.openxmlformats.org/officeDocument/2006/relationships/slideLayout" Target="../slideLayouts/slideLayout149.xml"/><Relationship Id="rId178" Type="http://schemas.openxmlformats.org/officeDocument/2006/relationships/slideLayout" Target="../slideLayouts/slideLayout191.xml"/><Relationship Id="rId301" Type="http://schemas.openxmlformats.org/officeDocument/2006/relationships/slideLayout" Target="../slideLayouts/slideLayout314.xml"/><Relationship Id="rId343" Type="http://schemas.openxmlformats.org/officeDocument/2006/relationships/slideLayout" Target="../slideLayouts/slideLayout356.xml"/><Relationship Id="rId82" Type="http://schemas.openxmlformats.org/officeDocument/2006/relationships/slideLayout" Target="../slideLayouts/slideLayout95.xml"/><Relationship Id="rId203" Type="http://schemas.openxmlformats.org/officeDocument/2006/relationships/slideLayout" Target="../slideLayouts/slideLayout216.xml"/><Relationship Id="rId385" Type="http://schemas.openxmlformats.org/officeDocument/2006/relationships/slideLayout" Target="../slideLayouts/slideLayout398.xml"/><Relationship Id="rId245" Type="http://schemas.openxmlformats.org/officeDocument/2006/relationships/slideLayout" Target="../slideLayouts/slideLayout258.xml"/><Relationship Id="rId287" Type="http://schemas.openxmlformats.org/officeDocument/2006/relationships/slideLayout" Target="../slideLayouts/slideLayout300.xml"/><Relationship Id="rId410" Type="http://schemas.openxmlformats.org/officeDocument/2006/relationships/slideLayout" Target="../slideLayouts/slideLayout423.xml"/><Relationship Id="rId452" Type="http://schemas.openxmlformats.org/officeDocument/2006/relationships/slideLayout" Target="../slideLayouts/slideLayout465.xml"/><Relationship Id="rId494" Type="http://schemas.openxmlformats.org/officeDocument/2006/relationships/slideLayout" Target="../slideLayouts/slideLayout507.xml"/><Relationship Id="rId508" Type="http://schemas.openxmlformats.org/officeDocument/2006/relationships/slideLayout" Target="../slideLayouts/slideLayout521.xml"/><Relationship Id="rId105" Type="http://schemas.openxmlformats.org/officeDocument/2006/relationships/slideLayout" Target="../slideLayouts/slideLayout118.xml"/><Relationship Id="rId147" Type="http://schemas.openxmlformats.org/officeDocument/2006/relationships/slideLayout" Target="../slideLayouts/slideLayout160.xml"/><Relationship Id="rId312" Type="http://schemas.openxmlformats.org/officeDocument/2006/relationships/slideLayout" Target="../slideLayouts/slideLayout325.xml"/><Relationship Id="rId354" Type="http://schemas.openxmlformats.org/officeDocument/2006/relationships/slideLayout" Target="../slideLayouts/slideLayout367.xml"/><Relationship Id="rId51" Type="http://schemas.openxmlformats.org/officeDocument/2006/relationships/slideLayout" Target="../slideLayouts/slideLayout64.xml"/><Relationship Id="rId93" Type="http://schemas.openxmlformats.org/officeDocument/2006/relationships/slideLayout" Target="../slideLayouts/slideLayout106.xml"/><Relationship Id="rId189" Type="http://schemas.openxmlformats.org/officeDocument/2006/relationships/slideLayout" Target="../slideLayouts/slideLayout202.xml"/><Relationship Id="rId396" Type="http://schemas.openxmlformats.org/officeDocument/2006/relationships/slideLayout" Target="../slideLayouts/slideLayout409.xml"/><Relationship Id="rId214" Type="http://schemas.openxmlformats.org/officeDocument/2006/relationships/slideLayout" Target="../slideLayouts/slideLayout227.xml"/><Relationship Id="rId256" Type="http://schemas.openxmlformats.org/officeDocument/2006/relationships/slideLayout" Target="../slideLayouts/slideLayout269.xml"/><Relationship Id="rId298" Type="http://schemas.openxmlformats.org/officeDocument/2006/relationships/slideLayout" Target="../slideLayouts/slideLayout311.xml"/><Relationship Id="rId421" Type="http://schemas.openxmlformats.org/officeDocument/2006/relationships/slideLayout" Target="../slideLayouts/slideLayout434.xml"/><Relationship Id="rId463" Type="http://schemas.openxmlformats.org/officeDocument/2006/relationships/slideLayout" Target="../slideLayouts/slideLayout476.xml"/><Relationship Id="rId519" Type="http://schemas.openxmlformats.org/officeDocument/2006/relationships/slideLayout" Target="../slideLayouts/slideLayout532.xml"/><Relationship Id="rId116" Type="http://schemas.openxmlformats.org/officeDocument/2006/relationships/slideLayout" Target="../slideLayouts/slideLayout129.xml"/><Relationship Id="rId158" Type="http://schemas.openxmlformats.org/officeDocument/2006/relationships/slideLayout" Target="../slideLayouts/slideLayout171.xml"/><Relationship Id="rId323" Type="http://schemas.openxmlformats.org/officeDocument/2006/relationships/slideLayout" Target="../slideLayouts/slideLayout336.xml"/><Relationship Id="rId530" Type="http://schemas.openxmlformats.org/officeDocument/2006/relationships/slideLayout" Target="../slideLayouts/slideLayout543.xml"/><Relationship Id="rId20" Type="http://schemas.openxmlformats.org/officeDocument/2006/relationships/slideLayout" Target="../slideLayouts/slideLayout33.xml"/><Relationship Id="rId62" Type="http://schemas.openxmlformats.org/officeDocument/2006/relationships/slideLayout" Target="../slideLayouts/slideLayout75.xml"/><Relationship Id="rId365" Type="http://schemas.openxmlformats.org/officeDocument/2006/relationships/slideLayout" Target="../slideLayouts/slideLayout378.xml"/><Relationship Id="rId225" Type="http://schemas.openxmlformats.org/officeDocument/2006/relationships/slideLayout" Target="../slideLayouts/slideLayout238.xml"/><Relationship Id="rId267" Type="http://schemas.openxmlformats.org/officeDocument/2006/relationships/slideLayout" Target="../slideLayouts/slideLayout280.xml"/><Relationship Id="rId432" Type="http://schemas.openxmlformats.org/officeDocument/2006/relationships/slideLayout" Target="../slideLayouts/slideLayout445.xml"/><Relationship Id="rId474" Type="http://schemas.openxmlformats.org/officeDocument/2006/relationships/slideLayout" Target="../slideLayouts/slideLayout487.xml"/><Relationship Id="rId127" Type="http://schemas.openxmlformats.org/officeDocument/2006/relationships/slideLayout" Target="../slideLayouts/slideLayout140.xml"/><Relationship Id="rId31" Type="http://schemas.openxmlformats.org/officeDocument/2006/relationships/slideLayout" Target="../slideLayouts/slideLayout44.xml"/><Relationship Id="rId73" Type="http://schemas.openxmlformats.org/officeDocument/2006/relationships/slideLayout" Target="../slideLayouts/slideLayout86.xml"/><Relationship Id="rId169" Type="http://schemas.openxmlformats.org/officeDocument/2006/relationships/slideLayout" Target="../slideLayouts/slideLayout182.xml"/><Relationship Id="rId334" Type="http://schemas.openxmlformats.org/officeDocument/2006/relationships/slideLayout" Target="../slideLayouts/slideLayout347.xml"/><Relationship Id="rId376" Type="http://schemas.openxmlformats.org/officeDocument/2006/relationships/slideLayout" Target="../slideLayouts/slideLayout389.xml"/><Relationship Id="rId541" Type="http://schemas.openxmlformats.org/officeDocument/2006/relationships/slideLayout" Target="../slideLayouts/slideLayout554.xml"/><Relationship Id="rId4" Type="http://schemas.openxmlformats.org/officeDocument/2006/relationships/slideLayout" Target="../slideLayouts/slideLayout17.xml"/><Relationship Id="rId180" Type="http://schemas.openxmlformats.org/officeDocument/2006/relationships/slideLayout" Target="../slideLayouts/slideLayout193.xml"/><Relationship Id="rId236" Type="http://schemas.openxmlformats.org/officeDocument/2006/relationships/slideLayout" Target="../slideLayouts/slideLayout249.xml"/><Relationship Id="rId278" Type="http://schemas.openxmlformats.org/officeDocument/2006/relationships/slideLayout" Target="../slideLayouts/slideLayout291.xml"/><Relationship Id="rId401" Type="http://schemas.openxmlformats.org/officeDocument/2006/relationships/slideLayout" Target="../slideLayouts/slideLayout414.xml"/><Relationship Id="rId443" Type="http://schemas.openxmlformats.org/officeDocument/2006/relationships/slideLayout" Target="../slideLayouts/slideLayout456.xml"/><Relationship Id="rId303" Type="http://schemas.openxmlformats.org/officeDocument/2006/relationships/slideLayout" Target="../slideLayouts/slideLayout316.xml"/><Relationship Id="rId485" Type="http://schemas.openxmlformats.org/officeDocument/2006/relationships/slideLayout" Target="../slideLayouts/slideLayout498.xml"/><Relationship Id="rId42" Type="http://schemas.openxmlformats.org/officeDocument/2006/relationships/slideLayout" Target="../slideLayouts/slideLayout55.xml"/><Relationship Id="rId84" Type="http://schemas.openxmlformats.org/officeDocument/2006/relationships/slideLayout" Target="../slideLayouts/slideLayout97.xml"/><Relationship Id="rId138" Type="http://schemas.openxmlformats.org/officeDocument/2006/relationships/slideLayout" Target="../slideLayouts/slideLayout151.xml"/><Relationship Id="rId345" Type="http://schemas.openxmlformats.org/officeDocument/2006/relationships/slideLayout" Target="../slideLayouts/slideLayout358.xml"/><Relationship Id="rId387" Type="http://schemas.openxmlformats.org/officeDocument/2006/relationships/slideLayout" Target="../slideLayouts/slideLayout400.xml"/><Relationship Id="rId510" Type="http://schemas.openxmlformats.org/officeDocument/2006/relationships/slideLayout" Target="../slideLayouts/slideLayout523.xml"/><Relationship Id="rId191" Type="http://schemas.openxmlformats.org/officeDocument/2006/relationships/slideLayout" Target="../slideLayouts/slideLayout204.xml"/><Relationship Id="rId205" Type="http://schemas.openxmlformats.org/officeDocument/2006/relationships/slideLayout" Target="../slideLayouts/slideLayout218.xml"/><Relationship Id="rId247" Type="http://schemas.openxmlformats.org/officeDocument/2006/relationships/slideLayout" Target="../slideLayouts/slideLayout260.xml"/><Relationship Id="rId412" Type="http://schemas.openxmlformats.org/officeDocument/2006/relationships/slideLayout" Target="../slideLayouts/slideLayout425.xml"/><Relationship Id="rId107" Type="http://schemas.openxmlformats.org/officeDocument/2006/relationships/slideLayout" Target="../slideLayouts/slideLayout120.xml"/><Relationship Id="rId289" Type="http://schemas.openxmlformats.org/officeDocument/2006/relationships/slideLayout" Target="../slideLayouts/slideLayout302.xml"/><Relationship Id="rId454" Type="http://schemas.openxmlformats.org/officeDocument/2006/relationships/slideLayout" Target="../slideLayouts/slideLayout467.xml"/><Relationship Id="rId496" Type="http://schemas.openxmlformats.org/officeDocument/2006/relationships/slideLayout" Target="../slideLayouts/slideLayout509.xml"/><Relationship Id="rId11" Type="http://schemas.openxmlformats.org/officeDocument/2006/relationships/slideLayout" Target="../slideLayouts/slideLayout24.xml"/><Relationship Id="rId53" Type="http://schemas.openxmlformats.org/officeDocument/2006/relationships/slideLayout" Target="../slideLayouts/slideLayout66.xml"/><Relationship Id="rId149" Type="http://schemas.openxmlformats.org/officeDocument/2006/relationships/slideLayout" Target="../slideLayouts/slideLayout162.xml"/><Relationship Id="rId314" Type="http://schemas.openxmlformats.org/officeDocument/2006/relationships/slideLayout" Target="../slideLayouts/slideLayout327.xml"/><Relationship Id="rId356" Type="http://schemas.openxmlformats.org/officeDocument/2006/relationships/slideLayout" Target="../slideLayouts/slideLayout369.xml"/><Relationship Id="rId398" Type="http://schemas.openxmlformats.org/officeDocument/2006/relationships/slideLayout" Target="../slideLayouts/slideLayout411.xml"/><Relationship Id="rId521" Type="http://schemas.openxmlformats.org/officeDocument/2006/relationships/slideLayout" Target="../slideLayouts/slideLayout534.xml"/><Relationship Id="rId95" Type="http://schemas.openxmlformats.org/officeDocument/2006/relationships/slideLayout" Target="../slideLayouts/slideLayout108.xml"/><Relationship Id="rId160" Type="http://schemas.openxmlformats.org/officeDocument/2006/relationships/slideLayout" Target="../slideLayouts/slideLayout173.xml"/><Relationship Id="rId216" Type="http://schemas.openxmlformats.org/officeDocument/2006/relationships/slideLayout" Target="../slideLayouts/slideLayout229.xml"/><Relationship Id="rId423" Type="http://schemas.openxmlformats.org/officeDocument/2006/relationships/slideLayout" Target="../slideLayouts/slideLayout436.xml"/><Relationship Id="rId258" Type="http://schemas.openxmlformats.org/officeDocument/2006/relationships/slideLayout" Target="../slideLayouts/slideLayout271.xml"/><Relationship Id="rId465" Type="http://schemas.openxmlformats.org/officeDocument/2006/relationships/slideLayout" Target="../slideLayouts/slideLayout478.xml"/><Relationship Id="rId22" Type="http://schemas.openxmlformats.org/officeDocument/2006/relationships/slideLayout" Target="../slideLayouts/slideLayout35.xml"/><Relationship Id="rId64" Type="http://schemas.openxmlformats.org/officeDocument/2006/relationships/slideLayout" Target="../slideLayouts/slideLayout77.xml"/><Relationship Id="rId118" Type="http://schemas.openxmlformats.org/officeDocument/2006/relationships/slideLayout" Target="../slideLayouts/slideLayout131.xml"/><Relationship Id="rId325" Type="http://schemas.openxmlformats.org/officeDocument/2006/relationships/slideLayout" Target="../slideLayouts/slideLayout338.xml"/><Relationship Id="rId367" Type="http://schemas.openxmlformats.org/officeDocument/2006/relationships/slideLayout" Target="../slideLayouts/slideLayout380.xml"/><Relationship Id="rId532" Type="http://schemas.openxmlformats.org/officeDocument/2006/relationships/slideLayout" Target="../slideLayouts/slideLayout545.xml"/><Relationship Id="rId171" Type="http://schemas.openxmlformats.org/officeDocument/2006/relationships/slideLayout" Target="../slideLayouts/slideLayout184.xml"/><Relationship Id="rId227" Type="http://schemas.openxmlformats.org/officeDocument/2006/relationships/slideLayout" Target="../slideLayouts/slideLayout240.xml"/><Relationship Id="rId269" Type="http://schemas.openxmlformats.org/officeDocument/2006/relationships/slideLayout" Target="../slideLayouts/slideLayout282.xml"/><Relationship Id="rId434" Type="http://schemas.openxmlformats.org/officeDocument/2006/relationships/slideLayout" Target="../slideLayouts/slideLayout447.xml"/><Relationship Id="rId476" Type="http://schemas.openxmlformats.org/officeDocument/2006/relationships/slideLayout" Target="../slideLayouts/slideLayout489.xml"/><Relationship Id="rId33" Type="http://schemas.openxmlformats.org/officeDocument/2006/relationships/slideLayout" Target="../slideLayouts/slideLayout46.xml"/><Relationship Id="rId129" Type="http://schemas.openxmlformats.org/officeDocument/2006/relationships/slideLayout" Target="../slideLayouts/slideLayout142.xml"/><Relationship Id="rId280" Type="http://schemas.openxmlformats.org/officeDocument/2006/relationships/slideLayout" Target="../slideLayouts/slideLayout293.xml"/><Relationship Id="rId336" Type="http://schemas.openxmlformats.org/officeDocument/2006/relationships/slideLayout" Target="../slideLayouts/slideLayout349.xml"/><Relationship Id="rId501" Type="http://schemas.openxmlformats.org/officeDocument/2006/relationships/slideLayout" Target="../slideLayouts/slideLayout514.xml"/><Relationship Id="rId75" Type="http://schemas.openxmlformats.org/officeDocument/2006/relationships/slideLayout" Target="../slideLayouts/slideLayout88.xml"/><Relationship Id="rId140" Type="http://schemas.openxmlformats.org/officeDocument/2006/relationships/slideLayout" Target="../slideLayouts/slideLayout153.xml"/><Relationship Id="rId182" Type="http://schemas.openxmlformats.org/officeDocument/2006/relationships/slideLayout" Target="../slideLayouts/slideLayout195.xml"/><Relationship Id="rId378" Type="http://schemas.openxmlformats.org/officeDocument/2006/relationships/slideLayout" Target="../slideLayouts/slideLayout391.xml"/><Relationship Id="rId403" Type="http://schemas.openxmlformats.org/officeDocument/2006/relationships/slideLayout" Target="../slideLayouts/slideLayout416.xml"/><Relationship Id="rId6" Type="http://schemas.openxmlformats.org/officeDocument/2006/relationships/slideLayout" Target="../slideLayouts/slideLayout19.xml"/><Relationship Id="rId238" Type="http://schemas.openxmlformats.org/officeDocument/2006/relationships/slideLayout" Target="../slideLayouts/slideLayout251.xml"/><Relationship Id="rId445" Type="http://schemas.openxmlformats.org/officeDocument/2006/relationships/slideLayout" Target="../slideLayouts/slideLayout458.xml"/><Relationship Id="rId487" Type="http://schemas.openxmlformats.org/officeDocument/2006/relationships/slideLayout" Target="../slideLayouts/slideLayout500.xml"/><Relationship Id="rId291" Type="http://schemas.openxmlformats.org/officeDocument/2006/relationships/slideLayout" Target="../slideLayouts/slideLayout304.xml"/><Relationship Id="rId305" Type="http://schemas.openxmlformats.org/officeDocument/2006/relationships/slideLayout" Target="../slideLayouts/slideLayout318.xml"/><Relationship Id="rId347" Type="http://schemas.openxmlformats.org/officeDocument/2006/relationships/slideLayout" Target="../slideLayouts/slideLayout360.xml"/><Relationship Id="rId512" Type="http://schemas.openxmlformats.org/officeDocument/2006/relationships/slideLayout" Target="../slideLayouts/slideLayout525.xml"/><Relationship Id="rId44" Type="http://schemas.openxmlformats.org/officeDocument/2006/relationships/slideLayout" Target="../slideLayouts/slideLayout57.xml"/><Relationship Id="rId86" Type="http://schemas.openxmlformats.org/officeDocument/2006/relationships/slideLayout" Target="../slideLayouts/slideLayout99.xml"/><Relationship Id="rId151" Type="http://schemas.openxmlformats.org/officeDocument/2006/relationships/slideLayout" Target="../slideLayouts/slideLayout164.xml"/><Relationship Id="rId389" Type="http://schemas.openxmlformats.org/officeDocument/2006/relationships/slideLayout" Target="../slideLayouts/slideLayout402.xml"/><Relationship Id="rId193" Type="http://schemas.openxmlformats.org/officeDocument/2006/relationships/slideLayout" Target="../slideLayouts/slideLayout206.xml"/><Relationship Id="rId207" Type="http://schemas.openxmlformats.org/officeDocument/2006/relationships/slideLayout" Target="../slideLayouts/slideLayout220.xml"/><Relationship Id="rId249" Type="http://schemas.openxmlformats.org/officeDocument/2006/relationships/slideLayout" Target="../slideLayouts/slideLayout262.xml"/><Relationship Id="rId414" Type="http://schemas.openxmlformats.org/officeDocument/2006/relationships/slideLayout" Target="../slideLayouts/slideLayout427.xml"/><Relationship Id="rId456" Type="http://schemas.openxmlformats.org/officeDocument/2006/relationships/slideLayout" Target="../slideLayouts/slideLayout469.xml"/><Relationship Id="rId498" Type="http://schemas.openxmlformats.org/officeDocument/2006/relationships/slideLayout" Target="../slideLayouts/slideLayout511.xml"/><Relationship Id="rId13" Type="http://schemas.openxmlformats.org/officeDocument/2006/relationships/slideLayout" Target="../slideLayouts/slideLayout26.xml"/><Relationship Id="rId109" Type="http://schemas.openxmlformats.org/officeDocument/2006/relationships/slideLayout" Target="../slideLayouts/slideLayout122.xml"/><Relationship Id="rId260" Type="http://schemas.openxmlformats.org/officeDocument/2006/relationships/slideLayout" Target="../slideLayouts/slideLayout273.xml"/><Relationship Id="rId316" Type="http://schemas.openxmlformats.org/officeDocument/2006/relationships/slideLayout" Target="../slideLayouts/slideLayout329.xml"/><Relationship Id="rId523" Type="http://schemas.openxmlformats.org/officeDocument/2006/relationships/slideLayout" Target="../slideLayouts/slideLayout536.xml"/><Relationship Id="rId55" Type="http://schemas.openxmlformats.org/officeDocument/2006/relationships/slideLayout" Target="../slideLayouts/slideLayout68.xml"/><Relationship Id="rId97" Type="http://schemas.openxmlformats.org/officeDocument/2006/relationships/slideLayout" Target="../slideLayouts/slideLayout110.xml"/><Relationship Id="rId120" Type="http://schemas.openxmlformats.org/officeDocument/2006/relationships/slideLayout" Target="../slideLayouts/slideLayout133.xml"/><Relationship Id="rId358" Type="http://schemas.openxmlformats.org/officeDocument/2006/relationships/slideLayout" Target="../slideLayouts/slideLayout371.xml"/><Relationship Id="rId162" Type="http://schemas.openxmlformats.org/officeDocument/2006/relationships/slideLayout" Target="../slideLayouts/slideLayout175.xml"/><Relationship Id="rId218" Type="http://schemas.openxmlformats.org/officeDocument/2006/relationships/slideLayout" Target="../slideLayouts/slideLayout231.xml"/><Relationship Id="rId425" Type="http://schemas.openxmlformats.org/officeDocument/2006/relationships/slideLayout" Target="../slideLayouts/slideLayout438.xml"/><Relationship Id="rId467" Type="http://schemas.openxmlformats.org/officeDocument/2006/relationships/slideLayout" Target="../slideLayouts/slideLayout480.xml"/><Relationship Id="rId271" Type="http://schemas.openxmlformats.org/officeDocument/2006/relationships/slideLayout" Target="../slideLayouts/slideLayout284.xml"/><Relationship Id="rId24" Type="http://schemas.openxmlformats.org/officeDocument/2006/relationships/slideLayout" Target="../slideLayouts/slideLayout37.xml"/><Relationship Id="rId66" Type="http://schemas.openxmlformats.org/officeDocument/2006/relationships/slideLayout" Target="../slideLayouts/slideLayout79.xml"/><Relationship Id="rId131" Type="http://schemas.openxmlformats.org/officeDocument/2006/relationships/slideLayout" Target="../slideLayouts/slideLayout144.xml"/><Relationship Id="rId327" Type="http://schemas.openxmlformats.org/officeDocument/2006/relationships/slideLayout" Target="../slideLayouts/slideLayout340.xml"/><Relationship Id="rId369" Type="http://schemas.openxmlformats.org/officeDocument/2006/relationships/slideLayout" Target="../slideLayouts/slideLayout382.xml"/><Relationship Id="rId534" Type="http://schemas.openxmlformats.org/officeDocument/2006/relationships/slideLayout" Target="../slideLayouts/slideLayout547.xml"/><Relationship Id="rId173" Type="http://schemas.openxmlformats.org/officeDocument/2006/relationships/slideLayout" Target="../slideLayouts/slideLayout186.xml"/><Relationship Id="rId229" Type="http://schemas.openxmlformats.org/officeDocument/2006/relationships/slideLayout" Target="../slideLayouts/slideLayout242.xml"/><Relationship Id="rId380" Type="http://schemas.openxmlformats.org/officeDocument/2006/relationships/slideLayout" Target="../slideLayouts/slideLayout393.xml"/><Relationship Id="rId436" Type="http://schemas.openxmlformats.org/officeDocument/2006/relationships/slideLayout" Target="../slideLayouts/slideLayout449.xml"/><Relationship Id="rId240" Type="http://schemas.openxmlformats.org/officeDocument/2006/relationships/slideLayout" Target="../slideLayouts/slideLayout253.xml"/><Relationship Id="rId478" Type="http://schemas.openxmlformats.org/officeDocument/2006/relationships/slideLayout" Target="../slideLayouts/slideLayout491.xml"/><Relationship Id="rId35" Type="http://schemas.openxmlformats.org/officeDocument/2006/relationships/slideLayout" Target="../slideLayouts/slideLayout48.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282" Type="http://schemas.openxmlformats.org/officeDocument/2006/relationships/slideLayout" Target="../slideLayouts/slideLayout295.xml"/><Relationship Id="rId338" Type="http://schemas.openxmlformats.org/officeDocument/2006/relationships/slideLayout" Target="../slideLayouts/slideLayout351.xml"/><Relationship Id="rId503" Type="http://schemas.openxmlformats.org/officeDocument/2006/relationships/slideLayout" Target="../slideLayouts/slideLayout516.xml"/><Relationship Id="rId8" Type="http://schemas.openxmlformats.org/officeDocument/2006/relationships/slideLayout" Target="../slideLayouts/slideLayout21.xml"/><Relationship Id="rId142" Type="http://schemas.openxmlformats.org/officeDocument/2006/relationships/slideLayout" Target="../slideLayouts/slideLayout155.xml"/><Relationship Id="rId184" Type="http://schemas.openxmlformats.org/officeDocument/2006/relationships/slideLayout" Target="../slideLayouts/slideLayout197.xml"/><Relationship Id="rId391" Type="http://schemas.openxmlformats.org/officeDocument/2006/relationships/slideLayout" Target="../slideLayouts/slideLayout404.xml"/><Relationship Id="rId405" Type="http://schemas.openxmlformats.org/officeDocument/2006/relationships/slideLayout" Target="../slideLayouts/slideLayout418.xml"/><Relationship Id="rId447" Type="http://schemas.openxmlformats.org/officeDocument/2006/relationships/slideLayout" Target="../slideLayouts/slideLayout460.xml"/><Relationship Id="rId251" Type="http://schemas.openxmlformats.org/officeDocument/2006/relationships/slideLayout" Target="../slideLayouts/slideLayout264.xml"/><Relationship Id="rId489" Type="http://schemas.openxmlformats.org/officeDocument/2006/relationships/slideLayout" Target="../slideLayouts/slideLayout502.xml"/><Relationship Id="rId46" Type="http://schemas.openxmlformats.org/officeDocument/2006/relationships/slideLayout" Target="../slideLayouts/slideLayout59.xml"/><Relationship Id="rId293" Type="http://schemas.openxmlformats.org/officeDocument/2006/relationships/slideLayout" Target="../slideLayouts/slideLayout306.xml"/><Relationship Id="rId307" Type="http://schemas.openxmlformats.org/officeDocument/2006/relationships/slideLayout" Target="../slideLayouts/slideLayout320.xml"/><Relationship Id="rId349" Type="http://schemas.openxmlformats.org/officeDocument/2006/relationships/slideLayout" Target="../slideLayouts/slideLayout362.xml"/><Relationship Id="rId514" Type="http://schemas.openxmlformats.org/officeDocument/2006/relationships/slideLayout" Target="../slideLayouts/slideLayout527.xml"/><Relationship Id="rId88" Type="http://schemas.openxmlformats.org/officeDocument/2006/relationships/slideLayout" Target="../slideLayouts/slideLayout101.xml"/><Relationship Id="rId111" Type="http://schemas.openxmlformats.org/officeDocument/2006/relationships/slideLayout" Target="../slideLayouts/slideLayout124.xml"/><Relationship Id="rId153" Type="http://schemas.openxmlformats.org/officeDocument/2006/relationships/slideLayout" Target="../slideLayouts/slideLayout166.xml"/><Relationship Id="rId195" Type="http://schemas.openxmlformats.org/officeDocument/2006/relationships/slideLayout" Target="../slideLayouts/slideLayout208.xml"/><Relationship Id="rId209" Type="http://schemas.openxmlformats.org/officeDocument/2006/relationships/slideLayout" Target="../slideLayouts/slideLayout222.xml"/><Relationship Id="rId360" Type="http://schemas.openxmlformats.org/officeDocument/2006/relationships/slideLayout" Target="../slideLayouts/slideLayout373.xml"/><Relationship Id="rId416" Type="http://schemas.openxmlformats.org/officeDocument/2006/relationships/slideLayout" Target="../slideLayouts/slideLayout429.xml"/><Relationship Id="rId220" Type="http://schemas.openxmlformats.org/officeDocument/2006/relationships/slideLayout" Target="../slideLayouts/slideLayout233.xml"/><Relationship Id="rId458" Type="http://schemas.openxmlformats.org/officeDocument/2006/relationships/slideLayout" Target="../slideLayouts/slideLayout471.xml"/><Relationship Id="rId15" Type="http://schemas.openxmlformats.org/officeDocument/2006/relationships/slideLayout" Target="../slideLayouts/slideLayout28.xml"/><Relationship Id="rId57" Type="http://schemas.openxmlformats.org/officeDocument/2006/relationships/slideLayout" Target="../slideLayouts/slideLayout70.xml"/><Relationship Id="rId262" Type="http://schemas.openxmlformats.org/officeDocument/2006/relationships/slideLayout" Target="../slideLayouts/slideLayout275.xml"/><Relationship Id="rId318" Type="http://schemas.openxmlformats.org/officeDocument/2006/relationships/slideLayout" Target="../slideLayouts/slideLayout331.xml"/><Relationship Id="rId525" Type="http://schemas.openxmlformats.org/officeDocument/2006/relationships/slideLayout" Target="../slideLayouts/slideLayout538.xml"/><Relationship Id="rId99" Type="http://schemas.openxmlformats.org/officeDocument/2006/relationships/slideLayout" Target="../slideLayouts/slideLayout112.xml"/><Relationship Id="rId122" Type="http://schemas.openxmlformats.org/officeDocument/2006/relationships/slideLayout" Target="../slideLayouts/slideLayout135.xml"/><Relationship Id="rId164" Type="http://schemas.openxmlformats.org/officeDocument/2006/relationships/slideLayout" Target="../slideLayouts/slideLayout177.xml"/><Relationship Id="rId371" Type="http://schemas.openxmlformats.org/officeDocument/2006/relationships/slideLayout" Target="../slideLayouts/slideLayout384.xml"/><Relationship Id="rId427" Type="http://schemas.openxmlformats.org/officeDocument/2006/relationships/slideLayout" Target="../slideLayouts/slideLayout440.xml"/><Relationship Id="rId469" Type="http://schemas.openxmlformats.org/officeDocument/2006/relationships/slideLayout" Target="../slideLayouts/slideLayout482.xml"/><Relationship Id="rId26" Type="http://schemas.openxmlformats.org/officeDocument/2006/relationships/slideLayout" Target="../slideLayouts/slideLayout39.xml"/><Relationship Id="rId231" Type="http://schemas.openxmlformats.org/officeDocument/2006/relationships/slideLayout" Target="../slideLayouts/slideLayout244.xml"/><Relationship Id="rId273" Type="http://schemas.openxmlformats.org/officeDocument/2006/relationships/slideLayout" Target="../slideLayouts/slideLayout286.xml"/><Relationship Id="rId329" Type="http://schemas.openxmlformats.org/officeDocument/2006/relationships/slideLayout" Target="../slideLayouts/slideLayout342.xml"/><Relationship Id="rId480" Type="http://schemas.openxmlformats.org/officeDocument/2006/relationships/slideLayout" Target="../slideLayouts/slideLayout493.xml"/><Relationship Id="rId536" Type="http://schemas.openxmlformats.org/officeDocument/2006/relationships/slideLayout" Target="../slideLayouts/slideLayout549.xml"/><Relationship Id="rId68" Type="http://schemas.openxmlformats.org/officeDocument/2006/relationships/slideLayout" Target="../slideLayouts/slideLayout81.xml"/><Relationship Id="rId133" Type="http://schemas.openxmlformats.org/officeDocument/2006/relationships/slideLayout" Target="../slideLayouts/slideLayout146.xml"/><Relationship Id="rId175" Type="http://schemas.openxmlformats.org/officeDocument/2006/relationships/slideLayout" Target="../slideLayouts/slideLayout188.xml"/><Relationship Id="rId340" Type="http://schemas.openxmlformats.org/officeDocument/2006/relationships/slideLayout" Target="../slideLayouts/slideLayout353.xml"/><Relationship Id="rId200" Type="http://schemas.openxmlformats.org/officeDocument/2006/relationships/slideLayout" Target="../slideLayouts/slideLayout213.xml"/><Relationship Id="rId382" Type="http://schemas.openxmlformats.org/officeDocument/2006/relationships/slideLayout" Target="../slideLayouts/slideLayout395.xml"/><Relationship Id="rId438" Type="http://schemas.openxmlformats.org/officeDocument/2006/relationships/slideLayout" Target="../slideLayouts/slideLayout451.xml"/><Relationship Id="rId242" Type="http://schemas.openxmlformats.org/officeDocument/2006/relationships/slideLayout" Target="../slideLayouts/slideLayout255.xml"/><Relationship Id="rId284" Type="http://schemas.openxmlformats.org/officeDocument/2006/relationships/slideLayout" Target="../slideLayouts/slideLayout297.xml"/><Relationship Id="rId491" Type="http://schemas.openxmlformats.org/officeDocument/2006/relationships/slideLayout" Target="../slideLayouts/slideLayout504.xml"/><Relationship Id="rId505" Type="http://schemas.openxmlformats.org/officeDocument/2006/relationships/slideLayout" Target="../slideLayouts/slideLayout518.xml"/><Relationship Id="rId37" Type="http://schemas.openxmlformats.org/officeDocument/2006/relationships/slideLayout" Target="../slideLayouts/slideLayout50.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144" Type="http://schemas.openxmlformats.org/officeDocument/2006/relationships/slideLayout" Target="../slideLayouts/slideLayout157.xml"/><Relationship Id="rId90" Type="http://schemas.openxmlformats.org/officeDocument/2006/relationships/slideLayout" Target="../slideLayouts/slideLayout103.xml"/><Relationship Id="rId186" Type="http://schemas.openxmlformats.org/officeDocument/2006/relationships/slideLayout" Target="../slideLayouts/slideLayout199.xml"/><Relationship Id="rId351" Type="http://schemas.openxmlformats.org/officeDocument/2006/relationships/slideLayout" Target="../slideLayouts/slideLayout364.xml"/><Relationship Id="rId393" Type="http://schemas.openxmlformats.org/officeDocument/2006/relationships/slideLayout" Target="../slideLayouts/slideLayout406.xml"/><Relationship Id="rId407" Type="http://schemas.openxmlformats.org/officeDocument/2006/relationships/slideLayout" Target="../slideLayouts/slideLayout420.xml"/><Relationship Id="rId449" Type="http://schemas.openxmlformats.org/officeDocument/2006/relationships/slideLayout" Target="../slideLayouts/slideLayout462.xml"/><Relationship Id="rId211" Type="http://schemas.openxmlformats.org/officeDocument/2006/relationships/slideLayout" Target="../slideLayouts/slideLayout224.xml"/><Relationship Id="rId253" Type="http://schemas.openxmlformats.org/officeDocument/2006/relationships/slideLayout" Target="../slideLayouts/slideLayout266.xml"/><Relationship Id="rId295" Type="http://schemas.openxmlformats.org/officeDocument/2006/relationships/slideLayout" Target="../slideLayouts/slideLayout308.xml"/><Relationship Id="rId309" Type="http://schemas.openxmlformats.org/officeDocument/2006/relationships/slideLayout" Target="../slideLayouts/slideLayout322.xml"/><Relationship Id="rId460" Type="http://schemas.openxmlformats.org/officeDocument/2006/relationships/slideLayout" Target="../slideLayouts/slideLayout473.xml"/><Relationship Id="rId516" Type="http://schemas.openxmlformats.org/officeDocument/2006/relationships/slideLayout" Target="../slideLayouts/slideLayout529.xml"/><Relationship Id="rId48" Type="http://schemas.openxmlformats.org/officeDocument/2006/relationships/slideLayout" Target="../slideLayouts/slideLayout61.xml"/><Relationship Id="rId113" Type="http://schemas.openxmlformats.org/officeDocument/2006/relationships/slideLayout" Target="../slideLayouts/slideLayout126.xml"/><Relationship Id="rId320" Type="http://schemas.openxmlformats.org/officeDocument/2006/relationships/slideLayout" Target="../slideLayouts/slideLayout333.xml"/><Relationship Id="rId155" Type="http://schemas.openxmlformats.org/officeDocument/2006/relationships/slideLayout" Target="../slideLayouts/slideLayout168.xml"/><Relationship Id="rId197" Type="http://schemas.openxmlformats.org/officeDocument/2006/relationships/slideLayout" Target="../slideLayouts/slideLayout210.xml"/><Relationship Id="rId362" Type="http://schemas.openxmlformats.org/officeDocument/2006/relationships/slideLayout" Target="../slideLayouts/slideLayout375.xml"/><Relationship Id="rId418" Type="http://schemas.openxmlformats.org/officeDocument/2006/relationships/slideLayout" Target="../slideLayouts/slideLayout431.xml"/><Relationship Id="rId222" Type="http://schemas.openxmlformats.org/officeDocument/2006/relationships/slideLayout" Target="../slideLayouts/slideLayout235.xml"/><Relationship Id="rId264" Type="http://schemas.openxmlformats.org/officeDocument/2006/relationships/slideLayout" Target="../slideLayouts/slideLayout277.xml"/><Relationship Id="rId471" Type="http://schemas.openxmlformats.org/officeDocument/2006/relationships/slideLayout" Target="../slideLayouts/slideLayout484.xml"/><Relationship Id="rId17" Type="http://schemas.openxmlformats.org/officeDocument/2006/relationships/slideLayout" Target="../slideLayouts/slideLayout30.xml"/><Relationship Id="rId59" Type="http://schemas.openxmlformats.org/officeDocument/2006/relationships/slideLayout" Target="../slideLayouts/slideLayout72.xml"/><Relationship Id="rId124" Type="http://schemas.openxmlformats.org/officeDocument/2006/relationships/slideLayout" Target="../slideLayouts/slideLayout137.xml"/><Relationship Id="rId527" Type="http://schemas.openxmlformats.org/officeDocument/2006/relationships/slideLayout" Target="../slideLayouts/slideLayout540.xml"/><Relationship Id="rId70" Type="http://schemas.openxmlformats.org/officeDocument/2006/relationships/slideLayout" Target="../slideLayouts/slideLayout83.xml"/><Relationship Id="rId166" Type="http://schemas.openxmlformats.org/officeDocument/2006/relationships/slideLayout" Target="../slideLayouts/slideLayout179.xml"/><Relationship Id="rId331" Type="http://schemas.openxmlformats.org/officeDocument/2006/relationships/slideLayout" Target="../slideLayouts/slideLayout344.xml"/><Relationship Id="rId373" Type="http://schemas.openxmlformats.org/officeDocument/2006/relationships/slideLayout" Target="../slideLayouts/slideLayout386.xml"/><Relationship Id="rId429" Type="http://schemas.openxmlformats.org/officeDocument/2006/relationships/slideLayout" Target="../slideLayouts/slideLayout442.xml"/><Relationship Id="rId1" Type="http://schemas.openxmlformats.org/officeDocument/2006/relationships/slideLayout" Target="../slideLayouts/slideLayout14.xml"/><Relationship Id="rId233" Type="http://schemas.openxmlformats.org/officeDocument/2006/relationships/slideLayout" Target="../slideLayouts/slideLayout246.xml"/><Relationship Id="rId440" Type="http://schemas.openxmlformats.org/officeDocument/2006/relationships/slideLayout" Target="../slideLayouts/slideLayout453.xml"/><Relationship Id="rId28" Type="http://schemas.openxmlformats.org/officeDocument/2006/relationships/slideLayout" Target="../slideLayouts/slideLayout41.xml"/><Relationship Id="rId275" Type="http://schemas.openxmlformats.org/officeDocument/2006/relationships/slideLayout" Target="../slideLayouts/slideLayout288.xml"/><Relationship Id="rId300" Type="http://schemas.openxmlformats.org/officeDocument/2006/relationships/slideLayout" Target="../slideLayouts/slideLayout313.xml"/><Relationship Id="rId482" Type="http://schemas.openxmlformats.org/officeDocument/2006/relationships/slideLayout" Target="../slideLayouts/slideLayout495.xml"/><Relationship Id="rId538" Type="http://schemas.openxmlformats.org/officeDocument/2006/relationships/slideLayout" Target="../slideLayouts/slideLayout551.xml"/><Relationship Id="rId81" Type="http://schemas.openxmlformats.org/officeDocument/2006/relationships/slideLayout" Target="../slideLayouts/slideLayout94.xml"/><Relationship Id="rId135" Type="http://schemas.openxmlformats.org/officeDocument/2006/relationships/slideLayout" Target="../slideLayouts/slideLayout148.xml"/><Relationship Id="rId177" Type="http://schemas.openxmlformats.org/officeDocument/2006/relationships/slideLayout" Target="../slideLayouts/slideLayout190.xml"/><Relationship Id="rId342" Type="http://schemas.openxmlformats.org/officeDocument/2006/relationships/slideLayout" Target="../slideLayouts/slideLayout355.xml"/><Relationship Id="rId384" Type="http://schemas.openxmlformats.org/officeDocument/2006/relationships/slideLayout" Target="../slideLayouts/slideLayout397.xml"/><Relationship Id="rId202" Type="http://schemas.openxmlformats.org/officeDocument/2006/relationships/slideLayout" Target="../slideLayouts/slideLayout215.xml"/><Relationship Id="rId244" Type="http://schemas.openxmlformats.org/officeDocument/2006/relationships/slideLayout" Target="../slideLayouts/slideLayout257.xml"/><Relationship Id="rId39" Type="http://schemas.openxmlformats.org/officeDocument/2006/relationships/slideLayout" Target="../slideLayouts/slideLayout52.xml"/><Relationship Id="rId286" Type="http://schemas.openxmlformats.org/officeDocument/2006/relationships/slideLayout" Target="../slideLayouts/slideLayout299.xml"/><Relationship Id="rId451" Type="http://schemas.openxmlformats.org/officeDocument/2006/relationships/slideLayout" Target="../slideLayouts/slideLayout464.xml"/><Relationship Id="rId493" Type="http://schemas.openxmlformats.org/officeDocument/2006/relationships/slideLayout" Target="../slideLayouts/slideLayout506.xml"/><Relationship Id="rId507" Type="http://schemas.openxmlformats.org/officeDocument/2006/relationships/slideLayout" Target="../slideLayouts/slideLayout520.xml"/><Relationship Id="rId50" Type="http://schemas.openxmlformats.org/officeDocument/2006/relationships/slideLayout" Target="../slideLayouts/slideLayout63.xml"/><Relationship Id="rId104" Type="http://schemas.openxmlformats.org/officeDocument/2006/relationships/slideLayout" Target="../slideLayouts/slideLayout117.xml"/><Relationship Id="rId146" Type="http://schemas.openxmlformats.org/officeDocument/2006/relationships/slideLayout" Target="../slideLayouts/slideLayout159.xml"/><Relationship Id="rId188" Type="http://schemas.openxmlformats.org/officeDocument/2006/relationships/slideLayout" Target="../slideLayouts/slideLayout201.xml"/><Relationship Id="rId311" Type="http://schemas.openxmlformats.org/officeDocument/2006/relationships/slideLayout" Target="../slideLayouts/slideLayout324.xml"/><Relationship Id="rId353" Type="http://schemas.openxmlformats.org/officeDocument/2006/relationships/slideLayout" Target="../slideLayouts/slideLayout366.xml"/><Relationship Id="rId395" Type="http://schemas.openxmlformats.org/officeDocument/2006/relationships/slideLayout" Target="../slideLayouts/slideLayout408.xml"/><Relationship Id="rId409" Type="http://schemas.openxmlformats.org/officeDocument/2006/relationships/slideLayout" Target="../slideLayouts/slideLayout422.xml"/><Relationship Id="rId92" Type="http://schemas.openxmlformats.org/officeDocument/2006/relationships/slideLayout" Target="../slideLayouts/slideLayout105.xml"/><Relationship Id="rId213" Type="http://schemas.openxmlformats.org/officeDocument/2006/relationships/slideLayout" Target="../slideLayouts/slideLayout226.xml"/><Relationship Id="rId420" Type="http://schemas.openxmlformats.org/officeDocument/2006/relationships/slideLayout" Target="../slideLayouts/slideLayout433.xml"/><Relationship Id="rId255" Type="http://schemas.openxmlformats.org/officeDocument/2006/relationships/slideLayout" Target="../slideLayouts/slideLayout268.xml"/><Relationship Id="rId297" Type="http://schemas.openxmlformats.org/officeDocument/2006/relationships/slideLayout" Target="../slideLayouts/slideLayout310.xml"/><Relationship Id="rId462" Type="http://schemas.openxmlformats.org/officeDocument/2006/relationships/slideLayout" Target="../slideLayouts/slideLayout475.xml"/><Relationship Id="rId518" Type="http://schemas.openxmlformats.org/officeDocument/2006/relationships/slideLayout" Target="../slideLayouts/slideLayout531.xml"/><Relationship Id="rId115" Type="http://schemas.openxmlformats.org/officeDocument/2006/relationships/slideLayout" Target="../slideLayouts/slideLayout128.xml"/><Relationship Id="rId157" Type="http://schemas.openxmlformats.org/officeDocument/2006/relationships/slideLayout" Target="../slideLayouts/slideLayout170.xml"/><Relationship Id="rId322" Type="http://schemas.openxmlformats.org/officeDocument/2006/relationships/slideLayout" Target="../slideLayouts/slideLayout335.xml"/><Relationship Id="rId364" Type="http://schemas.openxmlformats.org/officeDocument/2006/relationships/slideLayout" Target="../slideLayouts/slideLayout377.xml"/><Relationship Id="rId61" Type="http://schemas.openxmlformats.org/officeDocument/2006/relationships/slideLayout" Target="../slideLayouts/slideLayout74.xml"/><Relationship Id="rId199" Type="http://schemas.openxmlformats.org/officeDocument/2006/relationships/slideLayout" Target="../slideLayouts/slideLayout212.xml"/><Relationship Id="rId19" Type="http://schemas.openxmlformats.org/officeDocument/2006/relationships/slideLayout" Target="../slideLayouts/slideLayout32.xml"/><Relationship Id="rId224" Type="http://schemas.openxmlformats.org/officeDocument/2006/relationships/slideLayout" Target="../slideLayouts/slideLayout237.xml"/><Relationship Id="rId266" Type="http://schemas.openxmlformats.org/officeDocument/2006/relationships/slideLayout" Target="../slideLayouts/slideLayout279.xml"/><Relationship Id="rId431" Type="http://schemas.openxmlformats.org/officeDocument/2006/relationships/slideLayout" Target="../slideLayouts/slideLayout444.xml"/><Relationship Id="rId473" Type="http://schemas.openxmlformats.org/officeDocument/2006/relationships/slideLayout" Target="../slideLayouts/slideLayout486.xml"/><Relationship Id="rId529" Type="http://schemas.openxmlformats.org/officeDocument/2006/relationships/slideLayout" Target="../slideLayouts/slideLayout542.xml"/><Relationship Id="rId30" Type="http://schemas.openxmlformats.org/officeDocument/2006/relationships/slideLayout" Target="../slideLayouts/slideLayout43.xml"/><Relationship Id="rId126" Type="http://schemas.openxmlformats.org/officeDocument/2006/relationships/slideLayout" Target="../slideLayouts/slideLayout139.xml"/><Relationship Id="rId168" Type="http://schemas.openxmlformats.org/officeDocument/2006/relationships/slideLayout" Target="../slideLayouts/slideLayout181.xml"/><Relationship Id="rId333" Type="http://schemas.openxmlformats.org/officeDocument/2006/relationships/slideLayout" Target="../slideLayouts/slideLayout346.xml"/><Relationship Id="rId540" Type="http://schemas.openxmlformats.org/officeDocument/2006/relationships/slideLayout" Target="../slideLayouts/slideLayout553.xml"/><Relationship Id="rId72" Type="http://schemas.openxmlformats.org/officeDocument/2006/relationships/slideLayout" Target="../slideLayouts/slideLayout85.xml"/><Relationship Id="rId375" Type="http://schemas.openxmlformats.org/officeDocument/2006/relationships/slideLayout" Target="../slideLayouts/slideLayout388.xml"/><Relationship Id="rId3" Type="http://schemas.openxmlformats.org/officeDocument/2006/relationships/slideLayout" Target="../slideLayouts/slideLayout16.xml"/><Relationship Id="rId235" Type="http://schemas.openxmlformats.org/officeDocument/2006/relationships/slideLayout" Target="../slideLayouts/slideLayout248.xml"/><Relationship Id="rId277" Type="http://schemas.openxmlformats.org/officeDocument/2006/relationships/slideLayout" Target="../slideLayouts/slideLayout290.xml"/><Relationship Id="rId400" Type="http://schemas.openxmlformats.org/officeDocument/2006/relationships/slideLayout" Target="../slideLayouts/slideLayout413.xml"/><Relationship Id="rId442" Type="http://schemas.openxmlformats.org/officeDocument/2006/relationships/slideLayout" Target="../slideLayouts/slideLayout455.xml"/><Relationship Id="rId484" Type="http://schemas.openxmlformats.org/officeDocument/2006/relationships/slideLayout" Target="../slideLayouts/slideLayout497.xml"/><Relationship Id="rId137" Type="http://schemas.openxmlformats.org/officeDocument/2006/relationships/slideLayout" Target="../slideLayouts/slideLayout150.xml"/><Relationship Id="rId302" Type="http://schemas.openxmlformats.org/officeDocument/2006/relationships/slideLayout" Target="../slideLayouts/slideLayout315.xml"/><Relationship Id="rId344" Type="http://schemas.openxmlformats.org/officeDocument/2006/relationships/slideLayout" Target="../slideLayouts/slideLayout357.xml"/><Relationship Id="rId41" Type="http://schemas.openxmlformats.org/officeDocument/2006/relationships/slideLayout" Target="../slideLayouts/slideLayout54.xml"/><Relationship Id="rId83" Type="http://schemas.openxmlformats.org/officeDocument/2006/relationships/slideLayout" Target="../slideLayouts/slideLayout96.xml"/><Relationship Id="rId179" Type="http://schemas.openxmlformats.org/officeDocument/2006/relationships/slideLayout" Target="../slideLayouts/slideLayout192.xml"/><Relationship Id="rId386" Type="http://schemas.openxmlformats.org/officeDocument/2006/relationships/slideLayout" Target="../slideLayouts/slideLayout399.xml"/><Relationship Id="rId190" Type="http://schemas.openxmlformats.org/officeDocument/2006/relationships/slideLayout" Target="../slideLayouts/slideLayout203.xml"/><Relationship Id="rId204" Type="http://schemas.openxmlformats.org/officeDocument/2006/relationships/slideLayout" Target="../slideLayouts/slideLayout217.xml"/><Relationship Id="rId246" Type="http://schemas.openxmlformats.org/officeDocument/2006/relationships/slideLayout" Target="../slideLayouts/slideLayout259.xml"/><Relationship Id="rId288" Type="http://schemas.openxmlformats.org/officeDocument/2006/relationships/slideLayout" Target="../slideLayouts/slideLayout301.xml"/><Relationship Id="rId411" Type="http://schemas.openxmlformats.org/officeDocument/2006/relationships/slideLayout" Target="../slideLayouts/slideLayout424.xml"/><Relationship Id="rId453" Type="http://schemas.openxmlformats.org/officeDocument/2006/relationships/slideLayout" Target="../slideLayouts/slideLayout466.xml"/><Relationship Id="rId509" Type="http://schemas.openxmlformats.org/officeDocument/2006/relationships/slideLayout" Target="../slideLayouts/slideLayout522.xml"/><Relationship Id="rId106" Type="http://schemas.openxmlformats.org/officeDocument/2006/relationships/slideLayout" Target="../slideLayouts/slideLayout119.xml"/><Relationship Id="rId313" Type="http://schemas.openxmlformats.org/officeDocument/2006/relationships/slideLayout" Target="../slideLayouts/slideLayout326.xml"/><Relationship Id="rId495" Type="http://schemas.openxmlformats.org/officeDocument/2006/relationships/slideLayout" Target="../slideLayouts/slideLayout508.xml"/><Relationship Id="rId10" Type="http://schemas.openxmlformats.org/officeDocument/2006/relationships/slideLayout" Target="../slideLayouts/slideLayout23.xml"/><Relationship Id="rId52" Type="http://schemas.openxmlformats.org/officeDocument/2006/relationships/slideLayout" Target="../slideLayouts/slideLayout65.xml"/><Relationship Id="rId94" Type="http://schemas.openxmlformats.org/officeDocument/2006/relationships/slideLayout" Target="../slideLayouts/slideLayout107.xml"/><Relationship Id="rId148" Type="http://schemas.openxmlformats.org/officeDocument/2006/relationships/slideLayout" Target="../slideLayouts/slideLayout161.xml"/><Relationship Id="rId355" Type="http://schemas.openxmlformats.org/officeDocument/2006/relationships/slideLayout" Target="../slideLayouts/slideLayout368.xml"/><Relationship Id="rId397" Type="http://schemas.openxmlformats.org/officeDocument/2006/relationships/slideLayout" Target="../slideLayouts/slideLayout410.xml"/><Relationship Id="rId520" Type="http://schemas.openxmlformats.org/officeDocument/2006/relationships/slideLayout" Target="../slideLayouts/slideLayout533.xml"/><Relationship Id="rId215" Type="http://schemas.openxmlformats.org/officeDocument/2006/relationships/slideLayout" Target="../slideLayouts/slideLayout228.xml"/><Relationship Id="rId257" Type="http://schemas.openxmlformats.org/officeDocument/2006/relationships/slideLayout" Target="../slideLayouts/slideLayout270.xml"/><Relationship Id="rId422" Type="http://schemas.openxmlformats.org/officeDocument/2006/relationships/slideLayout" Target="../slideLayouts/slideLayout435.xml"/><Relationship Id="rId464" Type="http://schemas.openxmlformats.org/officeDocument/2006/relationships/slideLayout" Target="../slideLayouts/slideLayout477.xml"/><Relationship Id="rId299" Type="http://schemas.openxmlformats.org/officeDocument/2006/relationships/slideLayout" Target="../slideLayouts/slideLayout312.xml"/><Relationship Id="rId63" Type="http://schemas.openxmlformats.org/officeDocument/2006/relationships/slideLayout" Target="../slideLayouts/slideLayout76.xml"/><Relationship Id="rId159" Type="http://schemas.openxmlformats.org/officeDocument/2006/relationships/slideLayout" Target="../slideLayouts/slideLayout172.xml"/><Relationship Id="rId366" Type="http://schemas.openxmlformats.org/officeDocument/2006/relationships/slideLayout" Target="../slideLayouts/slideLayout379.xml"/><Relationship Id="rId226" Type="http://schemas.openxmlformats.org/officeDocument/2006/relationships/slideLayout" Target="../slideLayouts/slideLayout239.xml"/><Relationship Id="rId433" Type="http://schemas.openxmlformats.org/officeDocument/2006/relationships/slideLayout" Target="../slideLayouts/slideLayout446.xml"/><Relationship Id="rId74" Type="http://schemas.openxmlformats.org/officeDocument/2006/relationships/slideLayout" Target="../slideLayouts/slideLayout87.xml"/><Relationship Id="rId377" Type="http://schemas.openxmlformats.org/officeDocument/2006/relationships/slideLayout" Target="../slideLayouts/slideLayout390.xml"/><Relationship Id="rId500" Type="http://schemas.openxmlformats.org/officeDocument/2006/relationships/slideLayout" Target="../slideLayouts/slideLayout513.xml"/><Relationship Id="rId5" Type="http://schemas.openxmlformats.org/officeDocument/2006/relationships/slideLayout" Target="../slideLayouts/slideLayout18.xml"/><Relationship Id="rId237" Type="http://schemas.openxmlformats.org/officeDocument/2006/relationships/slideLayout" Target="../slideLayouts/slideLayout250.xml"/><Relationship Id="rId444" Type="http://schemas.openxmlformats.org/officeDocument/2006/relationships/slideLayout" Target="../slideLayouts/slideLayout457.xml"/><Relationship Id="rId290" Type="http://schemas.openxmlformats.org/officeDocument/2006/relationships/slideLayout" Target="../slideLayouts/slideLayout303.xml"/><Relationship Id="rId304" Type="http://schemas.openxmlformats.org/officeDocument/2006/relationships/slideLayout" Target="../slideLayouts/slideLayout317.xml"/><Relationship Id="rId388" Type="http://schemas.openxmlformats.org/officeDocument/2006/relationships/slideLayout" Target="../slideLayouts/slideLayout401.xml"/><Relationship Id="rId511" Type="http://schemas.openxmlformats.org/officeDocument/2006/relationships/slideLayout" Target="../slideLayouts/slideLayout5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2.xml"/><Relationship Id="rId3" Type="http://schemas.openxmlformats.org/officeDocument/2006/relationships/slideLayout" Target="../slideLayouts/slideLayout557.xml"/><Relationship Id="rId7" Type="http://schemas.openxmlformats.org/officeDocument/2006/relationships/slideLayout" Target="../slideLayouts/slideLayout561.xml"/><Relationship Id="rId2" Type="http://schemas.openxmlformats.org/officeDocument/2006/relationships/slideLayout" Target="../slideLayouts/slideLayout556.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5" Type="http://schemas.openxmlformats.org/officeDocument/2006/relationships/slideLayout" Target="../slideLayouts/slideLayout559.xml"/><Relationship Id="rId10" Type="http://schemas.openxmlformats.org/officeDocument/2006/relationships/theme" Target="../theme/theme3.xml"/><Relationship Id="rId4" Type="http://schemas.openxmlformats.org/officeDocument/2006/relationships/slideLayout" Target="../slideLayouts/slideLayout558.xml"/><Relationship Id="rId9" Type="http://schemas.openxmlformats.org/officeDocument/2006/relationships/slideLayout" Target="../slideLayouts/slideLayout563.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680.xml"/><Relationship Id="rId21" Type="http://schemas.openxmlformats.org/officeDocument/2006/relationships/slideLayout" Target="../slideLayouts/slideLayout584.xml"/><Relationship Id="rId324" Type="http://schemas.openxmlformats.org/officeDocument/2006/relationships/slideLayout" Target="../slideLayouts/slideLayout887.xml"/><Relationship Id="rId531" Type="http://schemas.openxmlformats.org/officeDocument/2006/relationships/slideLayout" Target="../slideLayouts/slideLayout1094.xml"/><Relationship Id="rId170" Type="http://schemas.openxmlformats.org/officeDocument/2006/relationships/slideLayout" Target="../slideLayouts/slideLayout733.xml"/><Relationship Id="rId268" Type="http://schemas.openxmlformats.org/officeDocument/2006/relationships/slideLayout" Target="../slideLayouts/slideLayout831.xml"/><Relationship Id="rId475" Type="http://schemas.openxmlformats.org/officeDocument/2006/relationships/slideLayout" Target="../slideLayouts/slideLayout1038.xml"/><Relationship Id="rId32" Type="http://schemas.openxmlformats.org/officeDocument/2006/relationships/slideLayout" Target="../slideLayouts/slideLayout595.xml"/><Relationship Id="rId128" Type="http://schemas.openxmlformats.org/officeDocument/2006/relationships/slideLayout" Target="../slideLayouts/slideLayout691.xml"/><Relationship Id="rId335" Type="http://schemas.openxmlformats.org/officeDocument/2006/relationships/slideLayout" Target="../slideLayouts/slideLayout898.xml"/><Relationship Id="rId542" Type="http://schemas.openxmlformats.org/officeDocument/2006/relationships/slideLayout" Target="../slideLayouts/slideLayout1105.xml"/><Relationship Id="rId181" Type="http://schemas.openxmlformats.org/officeDocument/2006/relationships/slideLayout" Target="../slideLayouts/slideLayout744.xml"/><Relationship Id="rId402" Type="http://schemas.openxmlformats.org/officeDocument/2006/relationships/slideLayout" Target="../slideLayouts/slideLayout965.xml"/><Relationship Id="rId279" Type="http://schemas.openxmlformats.org/officeDocument/2006/relationships/slideLayout" Target="../slideLayouts/slideLayout842.xml"/><Relationship Id="rId486" Type="http://schemas.openxmlformats.org/officeDocument/2006/relationships/slideLayout" Target="../slideLayouts/slideLayout1049.xml"/><Relationship Id="rId43" Type="http://schemas.openxmlformats.org/officeDocument/2006/relationships/slideLayout" Target="../slideLayouts/slideLayout606.xml"/><Relationship Id="rId139" Type="http://schemas.openxmlformats.org/officeDocument/2006/relationships/slideLayout" Target="../slideLayouts/slideLayout702.xml"/><Relationship Id="rId346" Type="http://schemas.openxmlformats.org/officeDocument/2006/relationships/slideLayout" Target="../slideLayouts/slideLayout909.xml"/><Relationship Id="rId85" Type="http://schemas.openxmlformats.org/officeDocument/2006/relationships/slideLayout" Target="../slideLayouts/slideLayout648.xml"/><Relationship Id="rId150" Type="http://schemas.openxmlformats.org/officeDocument/2006/relationships/slideLayout" Target="../slideLayouts/slideLayout713.xml"/><Relationship Id="rId192" Type="http://schemas.openxmlformats.org/officeDocument/2006/relationships/slideLayout" Target="../slideLayouts/slideLayout755.xml"/><Relationship Id="rId206" Type="http://schemas.openxmlformats.org/officeDocument/2006/relationships/slideLayout" Target="../slideLayouts/slideLayout769.xml"/><Relationship Id="rId413" Type="http://schemas.openxmlformats.org/officeDocument/2006/relationships/slideLayout" Target="../slideLayouts/slideLayout976.xml"/><Relationship Id="rId248" Type="http://schemas.openxmlformats.org/officeDocument/2006/relationships/slideLayout" Target="../slideLayouts/slideLayout811.xml"/><Relationship Id="rId455" Type="http://schemas.openxmlformats.org/officeDocument/2006/relationships/slideLayout" Target="../slideLayouts/slideLayout1018.xml"/><Relationship Id="rId497" Type="http://schemas.openxmlformats.org/officeDocument/2006/relationships/slideLayout" Target="../slideLayouts/slideLayout1060.xml"/><Relationship Id="rId12" Type="http://schemas.openxmlformats.org/officeDocument/2006/relationships/slideLayout" Target="../slideLayouts/slideLayout575.xml"/><Relationship Id="rId108" Type="http://schemas.openxmlformats.org/officeDocument/2006/relationships/slideLayout" Target="../slideLayouts/slideLayout671.xml"/><Relationship Id="rId315" Type="http://schemas.openxmlformats.org/officeDocument/2006/relationships/slideLayout" Target="../slideLayouts/slideLayout878.xml"/><Relationship Id="rId357" Type="http://schemas.openxmlformats.org/officeDocument/2006/relationships/slideLayout" Target="../slideLayouts/slideLayout920.xml"/><Relationship Id="rId522" Type="http://schemas.openxmlformats.org/officeDocument/2006/relationships/slideLayout" Target="../slideLayouts/slideLayout1085.xml"/><Relationship Id="rId54" Type="http://schemas.openxmlformats.org/officeDocument/2006/relationships/slideLayout" Target="../slideLayouts/slideLayout617.xml"/><Relationship Id="rId96" Type="http://schemas.openxmlformats.org/officeDocument/2006/relationships/slideLayout" Target="../slideLayouts/slideLayout659.xml"/><Relationship Id="rId161" Type="http://schemas.openxmlformats.org/officeDocument/2006/relationships/slideLayout" Target="../slideLayouts/slideLayout724.xml"/><Relationship Id="rId217" Type="http://schemas.openxmlformats.org/officeDocument/2006/relationships/slideLayout" Target="../slideLayouts/slideLayout780.xml"/><Relationship Id="rId399" Type="http://schemas.openxmlformats.org/officeDocument/2006/relationships/slideLayout" Target="../slideLayouts/slideLayout962.xml"/><Relationship Id="rId259" Type="http://schemas.openxmlformats.org/officeDocument/2006/relationships/slideLayout" Target="../slideLayouts/slideLayout822.xml"/><Relationship Id="rId424" Type="http://schemas.openxmlformats.org/officeDocument/2006/relationships/slideLayout" Target="../slideLayouts/slideLayout987.xml"/><Relationship Id="rId466" Type="http://schemas.openxmlformats.org/officeDocument/2006/relationships/slideLayout" Target="../slideLayouts/slideLayout1029.xml"/><Relationship Id="rId23" Type="http://schemas.openxmlformats.org/officeDocument/2006/relationships/slideLayout" Target="../slideLayouts/slideLayout586.xml"/><Relationship Id="rId119" Type="http://schemas.openxmlformats.org/officeDocument/2006/relationships/slideLayout" Target="../slideLayouts/slideLayout682.xml"/><Relationship Id="rId270" Type="http://schemas.openxmlformats.org/officeDocument/2006/relationships/slideLayout" Target="../slideLayouts/slideLayout833.xml"/><Relationship Id="rId326" Type="http://schemas.openxmlformats.org/officeDocument/2006/relationships/slideLayout" Target="../slideLayouts/slideLayout889.xml"/><Relationship Id="rId533" Type="http://schemas.openxmlformats.org/officeDocument/2006/relationships/slideLayout" Target="../slideLayouts/slideLayout1096.xml"/><Relationship Id="rId65" Type="http://schemas.openxmlformats.org/officeDocument/2006/relationships/slideLayout" Target="../slideLayouts/slideLayout628.xml"/><Relationship Id="rId130" Type="http://schemas.openxmlformats.org/officeDocument/2006/relationships/slideLayout" Target="../slideLayouts/slideLayout693.xml"/><Relationship Id="rId368" Type="http://schemas.openxmlformats.org/officeDocument/2006/relationships/slideLayout" Target="../slideLayouts/slideLayout931.xml"/><Relationship Id="rId172" Type="http://schemas.openxmlformats.org/officeDocument/2006/relationships/slideLayout" Target="../slideLayouts/slideLayout735.xml"/><Relationship Id="rId228" Type="http://schemas.openxmlformats.org/officeDocument/2006/relationships/slideLayout" Target="../slideLayouts/slideLayout791.xml"/><Relationship Id="rId435" Type="http://schemas.openxmlformats.org/officeDocument/2006/relationships/slideLayout" Target="../slideLayouts/slideLayout998.xml"/><Relationship Id="rId477" Type="http://schemas.openxmlformats.org/officeDocument/2006/relationships/slideLayout" Target="../slideLayouts/slideLayout1040.xml"/><Relationship Id="rId281" Type="http://schemas.openxmlformats.org/officeDocument/2006/relationships/slideLayout" Target="../slideLayouts/slideLayout844.xml"/><Relationship Id="rId337" Type="http://schemas.openxmlformats.org/officeDocument/2006/relationships/slideLayout" Target="../slideLayouts/slideLayout900.xml"/><Relationship Id="rId502" Type="http://schemas.openxmlformats.org/officeDocument/2006/relationships/slideLayout" Target="../slideLayouts/slideLayout1065.xml"/><Relationship Id="rId34" Type="http://schemas.openxmlformats.org/officeDocument/2006/relationships/slideLayout" Target="../slideLayouts/slideLayout597.xml"/><Relationship Id="rId76" Type="http://schemas.openxmlformats.org/officeDocument/2006/relationships/slideLayout" Target="../slideLayouts/slideLayout639.xml"/><Relationship Id="rId141" Type="http://schemas.openxmlformats.org/officeDocument/2006/relationships/slideLayout" Target="../slideLayouts/slideLayout704.xml"/><Relationship Id="rId379" Type="http://schemas.openxmlformats.org/officeDocument/2006/relationships/slideLayout" Target="../slideLayouts/slideLayout942.xml"/><Relationship Id="rId7" Type="http://schemas.openxmlformats.org/officeDocument/2006/relationships/slideLayout" Target="../slideLayouts/slideLayout570.xml"/><Relationship Id="rId183" Type="http://schemas.openxmlformats.org/officeDocument/2006/relationships/slideLayout" Target="../slideLayouts/slideLayout746.xml"/><Relationship Id="rId239" Type="http://schemas.openxmlformats.org/officeDocument/2006/relationships/slideLayout" Target="../slideLayouts/slideLayout802.xml"/><Relationship Id="rId390" Type="http://schemas.openxmlformats.org/officeDocument/2006/relationships/slideLayout" Target="../slideLayouts/slideLayout953.xml"/><Relationship Id="rId404" Type="http://schemas.openxmlformats.org/officeDocument/2006/relationships/slideLayout" Target="../slideLayouts/slideLayout967.xml"/><Relationship Id="rId446" Type="http://schemas.openxmlformats.org/officeDocument/2006/relationships/slideLayout" Target="../slideLayouts/slideLayout1009.xml"/><Relationship Id="rId250" Type="http://schemas.openxmlformats.org/officeDocument/2006/relationships/slideLayout" Target="../slideLayouts/slideLayout813.xml"/><Relationship Id="rId292" Type="http://schemas.openxmlformats.org/officeDocument/2006/relationships/slideLayout" Target="../slideLayouts/slideLayout855.xml"/><Relationship Id="rId306" Type="http://schemas.openxmlformats.org/officeDocument/2006/relationships/slideLayout" Target="../slideLayouts/slideLayout869.xml"/><Relationship Id="rId488" Type="http://schemas.openxmlformats.org/officeDocument/2006/relationships/slideLayout" Target="../slideLayouts/slideLayout1051.xml"/><Relationship Id="rId45" Type="http://schemas.openxmlformats.org/officeDocument/2006/relationships/slideLayout" Target="../slideLayouts/slideLayout608.xml"/><Relationship Id="rId87" Type="http://schemas.openxmlformats.org/officeDocument/2006/relationships/slideLayout" Target="../slideLayouts/slideLayout650.xml"/><Relationship Id="rId110" Type="http://schemas.openxmlformats.org/officeDocument/2006/relationships/slideLayout" Target="../slideLayouts/slideLayout673.xml"/><Relationship Id="rId348" Type="http://schemas.openxmlformats.org/officeDocument/2006/relationships/slideLayout" Target="../slideLayouts/slideLayout911.xml"/><Relationship Id="rId513" Type="http://schemas.openxmlformats.org/officeDocument/2006/relationships/slideLayout" Target="../slideLayouts/slideLayout1076.xml"/><Relationship Id="rId152" Type="http://schemas.openxmlformats.org/officeDocument/2006/relationships/slideLayout" Target="../slideLayouts/slideLayout715.xml"/><Relationship Id="rId194" Type="http://schemas.openxmlformats.org/officeDocument/2006/relationships/slideLayout" Target="../slideLayouts/slideLayout757.xml"/><Relationship Id="rId208" Type="http://schemas.openxmlformats.org/officeDocument/2006/relationships/slideLayout" Target="../slideLayouts/slideLayout771.xml"/><Relationship Id="rId415" Type="http://schemas.openxmlformats.org/officeDocument/2006/relationships/slideLayout" Target="../slideLayouts/slideLayout978.xml"/><Relationship Id="rId457" Type="http://schemas.openxmlformats.org/officeDocument/2006/relationships/slideLayout" Target="../slideLayouts/slideLayout1020.xml"/><Relationship Id="rId261" Type="http://schemas.openxmlformats.org/officeDocument/2006/relationships/slideLayout" Target="../slideLayouts/slideLayout824.xml"/><Relationship Id="rId499" Type="http://schemas.openxmlformats.org/officeDocument/2006/relationships/slideLayout" Target="../slideLayouts/slideLayout1062.xml"/><Relationship Id="rId14" Type="http://schemas.openxmlformats.org/officeDocument/2006/relationships/slideLayout" Target="../slideLayouts/slideLayout577.xml"/><Relationship Id="rId56" Type="http://schemas.openxmlformats.org/officeDocument/2006/relationships/slideLayout" Target="../slideLayouts/slideLayout619.xml"/><Relationship Id="rId317" Type="http://schemas.openxmlformats.org/officeDocument/2006/relationships/slideLayout" Target="../slideLayouts/slideLayout880.xml"/><Relationship Id="rId359" Type="http://schemas.openxmlformats.org/officeDocument/2006/relationships/slideLayout" Target="../slideLayouts/slideLayout922.xml"/><Relationship Id="rId524" Type="http://schemas.openxmlformats.org/officeDocument/2006/relationships/slideLayout" Target="../slideLayouts/slideLayout1087.xml"/><Relationship Id="rId98" Type="http://schemas.openxmlformats.org/officeDocument/2006/relationships/slideLayout" Target="../slideLayouts/slideLayout661.xml"/><Relationship Id="rId121" Type="http://schemas.openxmlformats.org/officeDocument/2006/relationships/slideLayout" Target="../slideLayouts/slideLayout684.xml"/><Relationship Id="rId163" Type="http://schemas.openxmlformats.org/officeDocument/2006/relationships/slideLayout" Target="../slideLayouts/slideLayout726.xml"/><Relationship Id="rId219" Type="http://schemas.openxmlformats.org/officeDocument/2006/relationships/slideLayout" Target="../slideLayouts/slideLayout782.xml"/><Relationship Id="rId370" Type="http://schemas.openxmlformats.org/officeDocument/2006/relationships/slideLayout" Target="../slideLayouts/slideLayout933.xml"/><Relationship Id="rId426" Type="http://schemas.openxmlformats.org/officeDocument/2006/relationships/slideLayout" Target="../slideLayouts/slideLayout989.xml"/><Relationship Id="rId230" Type="http://schemas.openxmlformats.org/officeDocument/2006/relationships/slideLayout" Target="../slideLayouts/slideLayout793.xml"/><Relationship Id="rId468" Type="http://schemas.openxmlformats.org/officeDocument/2006/relationships/slideLayout" Target="../slideLayouts/slideLayout1031.xml"/><Relationship Id="rId25" Type="http://schemas.openxmlformats.org/officeDocument/2006/relationships/slideLayout" Target="../slideLayouts/slideLayout588.xml"/><Relationship Id="rId67" Type="http://schemas.openxmlformats.org/officeDocument/2006/relationships/slideLayout" Target="../slideLayouts/slideLayout630.xml"/><Relationship Id="rId272" Type="http://schemas.openxmlformats.org/officeDocument/2006/relationships/slideLayout" Target="../slideLayouts/slideLayout835.xml"/><Relationship Id="rId328" Type="http://schemas.openxmlformats.org/officeDocument/2006/relationships/slideLayout" Target="../slideLayouts/slideLayout891.xml"/><Relationship Id="rId535" Type="http://schemas.openxmlformats.org/officeDocument/2006/relationships/slideLayout" Target="../slideLayouts/slideLayout1098.xml"/><Relationship Id="rId132" Type="http://schemas.openxmlformats.org/officeDocument/2006/relationships/slideLayout" Target="../slideLayouts/slideLayout695.xml"/><Relationship Id="rId174" Type="http://schemas.openxmlformats.org/officeDocument/2006/relationships/slideLayout" Target="../slideLayouts/slideLayout737.xml"/><Relationship Id="rId381" Type="http://schemas.openxmlformats.org/officeDocument/2006/relationships/slideLayout" Target="../slideLayouts/slideLayout944.xml"/><Relationship Id="rId241" Type="http://schemas.openxmlformats.org/officeDocument/2006/relationships/slideLayout" Target="../slideLayouts/slideLayout804.xml"/><Relationship Id="rId437" Type="http://schemas.openxmlformats.org/officeDocument/2006/relationships/slideLayout" Target="../slideLayouts/slideLayout1000.xml"/><Relationship Id="rId479" Type="http://schemas.openxmlformats.org/officeDocument/2006/relationships/slideLayout" Target="../slideLayouts/slideLayout1042.xml"/><Relationship Id="rId36" Type="http://schemas.openxmlformats.org/officeDocument/2006/relationships/slideLayout" Target="../slideLayouts/slideLayout599.xml"/><Relationship Id="rId283" Type="http://schemas.openxmlformats.org/officeDocument/2006/relationships/slideLayout" Target="../slideLayouts/slideLayout846.xml"/><Relationship Id="rId339" Type="http://schemas.openxmlformats.org/officeDocument/2006/relationships/slideLayout" Target="../slideLayouts/slideLayout902.xml"/><Relationship Id="rId490" Type="http://schemas.openxmlformats.org/officeDocument/2006/relationships/slideLayout" Target="../slideLayouts/slideLayout1053.xml"/><Relationship Id="rId504" Type="http://schemas.openxmlformats.org/officeDocument/2006/relationships/slideLayout" Target="../slideLayouts/slideLayout1067.xml"/><Relationship Id="rId78" Type="http://schemas.openxmlformats.org/officeDocument/2006/relationships/slideLayout" Target="../slideLayouts/slideLayout641.xml"/><Relationship Id="rId101" Type="http://schemas.openxmlformats.org/officeDocument/2006/relationships/slideLayout" Target="../slideLayouts/slideLayout664.xml"/><Relationship Id="rId143" Type="http://schemas.openxmlformats.org/officeDocument/2006/relationships/slideLayout" Target="../slideLayouts/slideLayout706.xml"/><Relationship Id="rId185" Type="http://schemas.openxmlformats.org/officeDocument/2006/relationships/slideLayout" Target="../slideLayouts/slideLayout748.xml"/><Relationship Id="rId350" Type="http://schemas.openxmlformats.org/officeDocument/2006/relationships/slideLayout" Target="../slideLayouts/slideLayout913.xml"/><Relationship Id="rId406" Type="http://schemas.openxmlformats.org/officeDocument/2006/relationships/slideLayout" Target="../slideLayouts/slideLayout969.xml"/><Relationship Id="rId9" Type="http://schemas.openxmlformats.org/officeDocument/2006/relationships/slideLayout" Target="../slideLayouts/slideLayout572.xml"/><Relationship Id="rId210" Type="http://schemas.openxmlformats.org/officeDocument/2006/relationships/slideLayout" Target="../slideLayouts/slideLayout773.xml"/><Relationship Id="rId392" Type="http://schemas.openxmlformats.org/officeDocument/2006/relationships/slideLayout" Target="../slideLayouts/slideLayout955.xml"/><Relationship Id="rId448" Type="http://schemas.openxmlformats.org/officeDocument/2006/relationships/slideLayout" Target="../slideLayouts/slideLayout1011.xml"/><Relationship Id="rId252" Type="http://schemas.openxmlformats.org/officeDocument/2006/relationships/slideLayout" Target="../slideLayouts/slideLayout815.xml"/><Relationship Id="rId294" Type="http://schemas.openxmlformats.org/officeDocument/2006/relationships/slideLayout" Target="../slideLayouts/slideLayout857.xml"/><Relationship Id="rId308" Type="http://schemas.openxmlformats.org/officeDocument/2006/relationships/slideLayout" Target="../slideLayouts/slideLayout871.xml"/><Relationship Id="rId515" Type="http://schemas.openxmlformats.org/officeDocument/2006/relationships/slideLayout" Target="../slideLayouts/slideLayout1078.xml"/><Relationship Id="rId47" Type="http://schemas.openxmlformats.org/officeDocument/2006/relationships/slideLayout" Target="../slideLayouts/slideLayout610.xml"/><Relationship Id="rId89" Type="http://schemas.openxmlformats.org/officeDocument/2006/relationships/slideLayout" Target="../slideLayouts/slideLayout652.xml"/><Relationship Id="rId112" Type="http://schemas.openxmlformats.org/officeDocument/2006/relationships/slideLayout" Target="../slideLayouts/slideLayout675.xml"/><Relationship Id="rId154" Type="http://schemas.openxmlformats.org/officeDocument/2006/relationships/slideLayout" Target="../slideLayouts/slideLayout717.xml"/><Relationship Id="rId361" Type="http://schemas.openxmlformats.org/officeDocument/2006/relationships/slideLayout" Target="../slideLayouts/slideLayout924.xml"/><Relationship Id="rId196" Type="http://schemas.openxmlformats.org/officeDocument/2006/relationships/slideLayout" Target="../slideLayouts/slideLayout759.xml"/><Relationship Id="rId417" Type="http://schemas.openxmlformats.org/officeDocument/2006/relationships/slideLayout" Target="../slideLayouts/slideLayout980.xml"/><Relationship Id="rId459" Type="http://schemas.openxmlformats.org/officeDocument/2006/relationships/slideLayout" Target="../slideLayouts/slideLayout1022.xml"/><Relationship Id="rId16" Type="http://schemas.openxmlformats.org/officeDocument/2006/relationships/slideLayout" Target="../slideLayouts/slideLayout579.xml"/><Relationship Id="rId221" Type="http://schemas.openxmlformats.org/officeDocument/2006/relationships/slideLayout" Target="../slideLayouts/slideLayout784.xml"/><Relationship Id="rId263" Type="http://schemas.openxmlformats.org/officeDocument/2006/relationships/slideLayout" Target="../slideLayouts/slideLayout826.xml"/><Relationship Id="rId319" Type="http://schemas.openxmlformats.org/officeDocument/2006/relationships/slideLayout" Target="../slideLayouts/slideLayout882.xml"/><Relationship Id="rId470" Type="http://schemas.openxmlformats.org/officeDocument/2006/relationships/slideLayout" Target="../slideLayouts/slideLayout1033.xml"/><Relationship Id="rId526" Type="http://schemas.openxmlformats.org/officeDocument/2006/relationships/slideLayout" Target="../slideLayouts/slideLayout1089.xml"/><Relationship Id="rId58" Type="http://schemas.openxmlformats.org/officeDocument/2006/relationships/slideLayout" Target="../slideLayouts/slideLayout621.xml"/><Relationship Id="rId123" Type="http://schemas.openxmlformats.org/officeDocument/2006/relationships/slideLayout" Target="../slideLayouts/slideLayout686.xml"/><Relationship Id="rId330" Type="http://schemas.openxmlformats.org/officeDocument/2006/relationships/slideLayout" Target="../slideLayouts/slideLayout893.xml"/><Relationship Id="rId165" Type="http://schemas.openxmlformats.org/officeDocument/2006/relationships/slideLayout" Target="../slideLayouts/slideLayout728.xml"/><Relationship Id="rId372" Type="http://schemas.openxmlformats.org/officeDocument/2006/relationships/slideLayout" Target="../slideLayouts/slideLayout935.xml"/><Relationship Id="rId428" Type="http://schemas.openxmlformats.org/officeDocument/2006/relationships/slideLayout" Target="../slideLayouts/slideLayout991.xml"/><Relationship Id="rId232" Type="http://schemas.openxmlformats.org/officeDocument/2006/relationships/slideLayout" Target="../slideLayouts/slideLayout795.xml"/><Relationship Id="rId274" Type="http://schemas.openxmlformats.org/officeDocument/2006/relationships/slideLayout" Target="../slideLayouts/slideLayout837.xml"/><Relationship Id="rId481" Type="http://schemas.openxmlformats.org/officeDocument/2006/relationships/slideLayout" Target="../slideLayouts/slideLayout1044.xml"/><Relationship Id="rId27" Type="http://schemas.openxmlformats.org/officeDocument/2006/relationships/slideLayout" Target="../slideLayouts/slideLayout590.xml"/><Relationship Id="rId69" Type="http://schemas.openxmlformats.org/officeDocument/2006/relationships/slideLayout" Target="../slideLayouts/slideLayout632.xml"/><Relationship Id="rId134" Type="http://schemas.openxmlformats.org/officeDocument/2006/relationships/slideLayout" Target="../slideLayouts/slideLayout697.xml"/><Relationship Id="rId537" Type="http://schemas.openxmlformats.org/officeDocument/2006/relationships/slideLayout" Target="../slideLayouts/slideLayout1100.xml"/><Relationship Id="rId80" Type="http://schemas.openxmlformats.org/officeDocument/2006/relationships/slideLayout" Target="../slideLayouts/slideLayout643.xml"/><Relationship Id="rId176" Type="http://schemas.openxmlformats.org/officeDocument/2006/relationships/slideLayout" Target="../slideLayouts/slideLayout739.xml"/><Relationship Id="rId341" Type="http://schemas.openxmlformats.org/officeDocument/2006/relationships/slideLayout" Target="../slideLayouts/slideLayout904.xml"/><Relationship Id="rId383" Type="http://schemas.openxmlformats.org/officeDocument/2006/relationships/slideLayout" Target="../slideLayouts/slideLayout946.xml"/><Relationship Id="rId439" Type="http://schemas.openxmlformats.org/officeDocument/2006/relationships/slideLayout" Target="../slideLayouts/slideLayout1002.xml"/><Relationship Id="rId201" Type="http://schemas.openxmlformats.org/officeDocument/2006/relationships/slideLayout" Target="../slideLayouts/slideLayout764.xml"/><Relationship Id="rId243" Type="http://schemas.openxmlformats.org/officeDocument/2006/relationships/slideLayout" Target="../slideLayouts/slideLayout806.xml"/><Relationship Id="rId285" Type="http://schemas.openxmlformats.org/officeDocument/2006/relationships/slideLayout" Target="../slideLayouts/slideLayout848.xml"/><Relationship Id="rId450" Type="http://schemas.openxmlformats.org/officeDocument/2006/relationships/slideLayout" Target="../slideLayouts/slideLayout1013.xml"/><Relationship Id="rId506" Type="http://schemas.openxmlformats.org/officeDocument/2006/relationships/slideLayout" Target="../slideLayouts/slideLayout1069.xml"/><Relationship Id="rId38" Type="http://schemas.openxmlformats.org/officeDocument/2006/relationships/slideLayout" Target="../slideLayouts/slideLayout601.xml"/><Relationship Id="rId103" Type="http://schemas.openxmlformats.org/officeDocument/2006/relationships/slideLayout" Target="../slideLayouts/slideLayout666.xml"/><Relationship Id="rId310" Type="http://schemas.openxmlformats.org/officeDocument/2006/relationships/slideLayout" Target="../slideLayouts/slideLayout873.xml"/><Relationship Id="rId492" Type="http://schemas.openxmlformats.org/officeDocument/2006/relationships/slideLayout" Target="../slideLayouts/slideLayout1055.xml"/><Relationship Id="rId91" Type="http://schemas.openxmlformats.org/officeDocument/2006/relationships/slideLayout" Target="../slideLayouts/slideLayout654.xml"/><Relationship Id="rId145" Type="http://schemas.openxmlformats.org/officeDocument/2006/relationships/slideLayout" Target="../slideLayouts/slideLayout708.xml"/><Relationship Id="rId187" Type="http://schemas.openxmlformats.org/officeDocument/2006/relationships/slideLayout" Target="../slideLayouts/slideLayout750.xml"/><Relationship Id="rId352" Type="http://schemas.openxmlformats.org/officeDocument/2006/relationships/slideLayout" Target="../slideLayouts/slideLayout915.xml"/><Relationship Id="rId394" Type="http://schemas.openxmlformats.org/officeDocument/2006/relationships/slideLayout" Target="../slideLayouts/slideLayout957.xml"/><Relationship Id="rId408" Type="http://schemas.openxmlformats.org/officeDocument/2006/relationships/slideLayout" Target="../slideLayouts/slideLayout971.xml"/><Relationship Id="rId212" Type="http://schemas.openxmlformats.org/officeDocument/2006/relationships/slideLayout" Target="../slideLayouts/slideLayout775.xml"/><Relationship Id="rId254" Type="http://schemas.openxmlformats.org/officeDocument/2006/relationships/slideLayout" Target="../slideLayouts/slideLayout817.xml"/><Relationship Id="rId49" Type="http://schemas.openxmlformats.org/officeDocument/2006/relationships/slideLayout" Target="../slideLayouts/slideLayout612.xml"/><Relationship Id="rId114" Type="http://schemas.openxmlformats.org/officeDocument/2006/relationships/slideLayout" Target="../slideLayouts/slideLayout677.xml"/><Relationship Id="rId296" Type="http://schemas.openxmlformats.org/officeDocument/2006/relationships/slideLayout" Target="../slideLayouts/slideLayout859.xml"/><Relationship Id="rId461" Type="http://schemas.openxmlformats.org/officeDocument/2006/relationships/slideLayout" Target="../slideLayouts/slideLayout1024.xml"/><Relationship Id="rId517" Type="http://schemas.openxmlformats.org/officeDocument/2006/relationships/slideLayout" Target="../slideLayouts/slideLayout1080.xml"/><Relationship Id="rId60" Type="http://schemas.openxmlformats.org/officeDocument/2006/relationships/slideLayout" Target="../slideLayouts/slideLayout623.xml"/><Relationship Id="rId156" Type="http://schemas.openxmlformats.org/officeDocument/2006/relationships/slideLayout" Target="../slideLayouts/slideLayout719.xml"/><Relationship Id="rId198" Type="http://schemas.openxmlformats.org/officeDocument/2006/relationships/slideLayout" Target="../slideLayouts/slideLayout761.xml"/><Relationship Id="rId321" Type="http://schemas.openxmlformats.org/officeDocument/2006/relationships/slideLayout" Target="../slideLayouts/slideLayout884.xml"/><Relationship Id="rId363" Type="http://schemas.openxmlformats.org/officeDocument/2006/relationships/slideLayout" Target="../slideLayouts/slideLayout926.xml"/><Relationship Id="rId419" Type="http://schemas.openxmlformats.org/officeDocument/2006/relationships/slideLayout" Target="../slideLayouts/slideLayout982.xml"/><Relationship Id="rId223" Type="http://schemas.openxmlformats.org/officeDocument/2006/relationships/slideLayout" Target="../slideLayouts/slideLayout786.xml"/><Relationship Id="rId430" Type="http://schemas.openxmlformats.org/officeDocument/2006/relationships/slideLayout" Target="../slideLayouts/slideLayout993.xml"/><Relationship Id="rId18" Type="http://schemas.openxmlformats.org/officeDocument/2006/relationships/slideLayout" Target="../slideLayouts/slideLayout581.xml"/><Relationship Id="rId265" Type="http://schemas.openxmlformats.org/officeDocument/2006/relationships/slideLayout" Target="../slideLayouts/slideLayout828.xml"/><Relationship Id="rId472" Type="http://schemas.openxmlformats.org/officeDocument/2006/relationships/slideLayout" Target="../slideLayouts/slideLayout1035.xml"/><Relationship Id="rId528" Type="http://schemas.openxmlformats.org/officeDocument/2006/relationships/slideLayout" Target="../slideLayouts/slideLayout1091.xml"/><Relationship Id="rId125" Type="http://schemas.openxmlformats.org/officeDocument/2006/relationships/slideLayout" Target="../slideLayouts/slideLayout688.xml"/><Relationship Id="rId167" Type="http://schemas.openxmlformats.org/officeDocument/2006/relationships/slideLayout" Target="../slideLayouts/slideLayout730.xml"/><Relationship Id="rId332" Type="http://schemas.openxmlformats.org/officeDocument/2006/relationships/slideLayout" Target="../slideLayouts/slideLayout895.xml"/><Relationship Id="rId374" Type="http://schemas.openxmlformats.org/officeDocument/2006/relationships/slideLayout" Target="../slideLayouts/slideLayout937.xml"/><Relationship Id="rId71" Type="http://schemas.openxmlformats.org/officeDocument/2006/relationships/slideLayout" Target="../slideLayouts/slideLayout634.xml"/><Relationship Id="rId234" Type="http://schemas.openxmlformats.org/officeDocument/2006/relationships/slideLayout" Target="../slideLayouts/slideLayout797.xml"/><Relationship Id="rId2" Type="http://schemas.openxmlformats.org/officeDocument/2006/relationships/slideLayout" Target="../slideLayouts/slideLayout565.xml"/><Relationship Id="rId29" Type="http://schemas.openxmlformats.org/officeDocument/2006/relationships/slideLayout" Target="../slideLayouts/slideLayout592.xml"/><Relationship Id="rId276" Type="http://schemas.openxmlformats.org/officeDocument/2006/relationships/slideLayout" Target="../slideLayouts/slideLayout839.xml"/><Relationship Id="rId441" Type="http://schemas.openxmlformats.org/officeDocument/2006/relationships/slideLayout" Target="../slideLayouts/slideLayout1004.xml"/><Relationship Id="rId483" Type="http://schemas.openxmlformats.org/officeDocument/2006/relationships/slideLayout" Target="../slideLayouts/slideLayout1046.xml"/><Relationship Id="rId539" Type="http://schemas.openxmlformats.org/officeDocument/2006/relationships/slideLayout" Target="../slideLayouts/slideLayout1102.xml"/><Relationship Id="rId40" Type="http://schemas.openxmlformats.org/officeDocument/2006/relationships/slideLayout" Target="../slideLayouts/slideLayout603.xml"/><Relationship Id="rId136" Type="http://schemas.openxmlformats.org/officeDocument/2006/relationships/slideLayout" Target="../slideLayouts/slideLayout699.xml"/><Relationship Id="rId178" Type="http://schemas.openxmlformats.org/officeDocument/2006/relationships/slideLayout" Target="../slideLayouts/slideLayout741.xml"/><Relationship Id="rId301" Type="http://schemas.openxmlformats.org/officeDocument/2006/relationships/slideLayout" Target="../slideLayouts/slideLayout864.xml"/><Relationship Id="rId343" Type="http://schemas.openxmlformats.org/officeDocument/2006/relationships/slideLayout" Target="../slideLayouts/slideLayout906.xml"/><Relationship Id="rId82" Type="http://schemas.openxmlformats.org/officeDocument/2006/relationships/slideLayout" Target="../slideLayouts/slideLayout645.xml"/><Relationship Id="rId203" Type="http://schemas.openxmlformats.org/officeDocument/2006/relationships/slideLayout" Target="../slideLayouts/slideLayout766.xml"/><Relationship Id="rId385" Type="http://schemas.openxmlformats.org/officeDocument/2006/relationships/slideLayout" Target="../slideLayouts/slideLayout948.xml"/><Relationship Id="rId245" Type="http://schemas.openxmlformats.org/officeDocument/2006/relationships/slideLayout" Target="../slideLayouts/slideLayout808.xml"/><Relationship Id="rId287" Type="http://schemas.openxmlformats.org/officeDocument/2006/relationships/slideLayout" Target="../slideLayouts/slideLayout850.xml"/><Relationship Id="rId410" Type="http://schemas.openxmlformats.org/officeDocument/2006/relationships/slideLayout" Target="../slideLayouts/slideLayout973.xml"/><Relationship Id="rId452" Type="http://schemas.openxmlformats.org/officeDocument/2006/relationships/slideLayout" Target="../slideLayouts/slideLayout1015.xml"/><Relationship Id="rId494" Type="http://schemas.openxmlformats.org/officeDocument/2006/relationships/slideLayout" Target="../slideLayouts/slideLayout1057.xml"/><Relationship Id="rId508" Type="http://schemas.openxmlformats.org/officeDocument/2006/relationships/slideLayout" Target="../slideLayouts/slideLayout1071.xml"/><Relationship Id="rId105" Type="http://schemas.openxmlformats.org/officeDocument/2006/relationships/slideLayout" Target="../slideLayouts/slideLayout668.xml"/><Relationship Id="rId147" Type="http://schemas.openxmlformats.org/officeDocument/2006/relationships/slideLayout" Target="../slideLayouts/slideLayout710.xml"/><Relationship Id="rId312" Type="http://schemas.openxmlformats.org/officeDocument/2006/relationships/slideLayout" Target="../slideLayouts/slideLayout875.xml"/><Relationship Id="rId354" Type="http://schemas.openxmlformats.org/officeDocument/2006/relationships/slideLayout" Target="../slideLayouts/slideLayout917.xml"/><Relationship Id="rId51" Type="http://schemas.openxmlformats.org/officeDocument/2006/relationships/slideLayout" Target="../slideLayouts/slideLayout614.xml"/><Relationship Id="rId93" Type="http://schemas.openxmlformats.org/officeDocument/2006/relationships/slideLayout" Target="../slideLayouts/slideLayout656.xml"/><Relationship Id="rId189" Type="http://schemas.openxmlformats.org/officeDocument/2006/relationships/slideLayout" Target="../slideLayouts/slideLayout752.xml"/><Relationship Id="rId396" Type="http://schemas.openxmlformats.org/officeDocument/2006/relationships/slideLayout" Target="../slideLayouts/slideLayout959.xml"/><Relationship Id="rId214" Type="http://schemas.openxmlformats.org/officeDocument/2006/relationships/slideLayout" Target="../slideLayouts/slideLayout777.xml"/><Relationship Id="rId256" Type="http://schemas.openxmlformats.org/officeDocument/2006/relationships/slideLayout" Target="../slideLayouts/slideLayout819.xml"/><Relationship Id="rId298" Type="http://schemas.openxmlformats.org/officeDocument/2006/relationships/slideLayout" Target="../slideLayouts/slideLayout861.xml"/><Relationship Id="rId421" Type="http://schemas.openxmlformats.org/officeDocument/2006/relationships/slideLayout" Target="../slideLayouts/slideLayout984.xml"/><Relationship Id="rId463" Type="http://schemas.openxmlformats.org/officeDocument/2006/relationships/slideLayout" Target="../slideLayouts/slideLayout1026.xml"/><Relationship Id="rId519" Type="http://schemas.openxmlformats.org/officeDocument/2006/relationships/slideLayout" Target="../slideLayouts/slideLayout1082.xml"/><Relationship Id="rId116" Type="http://schemas.openxmlformats.org/officeDocument/2006/relationships/slideLayout" Target="../slideLayouts/slideLayout679.xml"/><Relationship Id="rId158" Type="http://schemas.openxmlformats.org/officeDocument/2006/relationships/slideLayout" Target="../slideLayouts/slideLayout721.xml"/><Relationship Id="rId323" Type="http://schemas.openxmlformats.org/officeDocument/2006/relationships/slideLayout" Target="../slideLayouts/slideLayout886.xml"/><Relationship Id="rId530" Type="http://schemas.openxmlformats.org/officeDocument/2006/relationships/slideLayout" Target="../slideLayouts/slideLayout1093.xml"/><Relationship Id="rId20" Type="http://schemas.openxmlformats.org/officeDocument/2006/relationships/slideLayout" Target="../slideLayouts/slideLayout583.xml"/><Relationship Id="rId62" Type="http://schemas.openxmlformats.org/officeDocument/2006/relationships/slideLayout" Target="../slideLayouts/slideLayout625.xml"/><Relationship Id="rId365" Type="http://schemas.openxmlformats.org/officeDocument/2006/relationships/slideLayout" Target="../slideLayouts/slideLayout928.xml"/><Relationship Id="rId225" Type="http://schemas.openxmlformats.org/officeDocument/2006/relationships/slideLayout" Target="../slideLayouts/slideLayout788.xml"/><Relationship Id="rId267" Type="http://schemas.openxmlformats.org/officeDocument/2006/relationships/slideLayout" Target="../slideLayouts/slideLayout830.xml"/><Relationship Id="rId432" Type="http://schemas.openxmlformats.org/officeDocument/2006/relationships/slideLayout" Target="../slideLayouts/slideLayout995.xml"/><Relationship Id="rId474" Type="http://schemas.openxmlformats.org/officeDocument/2006/relationships/slideLayout" Target="../slideLayouts/slideLayout1037.xml"/><Relationship Id="rId127" Type="http://schemas.openxmlformats.org/officeDocument/2006/relationships/slideLayout" Target="../slideLayouts/slideLayout690.xml"/><Relationship Id="rId31" Type="http://schemas.openxmlformats.org/officeDocument/2006/relationships/slideLayout" Target="../slideLayouts/slideLayout594.xml"/><Relationship Id="rId73" Type="http://schemas.openxmlformats.org/officeDocument/2006/relationships/slideLayout" Target="../slideLayouts/slideLayout636.xml"/><Relationship Id="rId169" Type="http://schemas.openxmlformats.org/officeDocument/2006/relationships/slideLayout" Target="../slideLayouts/slideLayout732.xml"/><Relationship Id="rId334" Type="http://schemas.openxmlformats.org/officeDocument/2006/relationships/slideLayout" Target="../slideLayouts/slideLayout897.xml"/><Relationship Id="rId376" Type="http://schemas.openxmlformats.org/officeDocument/2006/relationships/slideLayout" Target="../slideLayouts/slideLayout939.xml"/><Relationship Id="rId541" Type="http://schemas.openxmlformats.org/officeDocument/2006/relationships/slideLayout" Target="../slideLayouts/slideLayout1104.xml"/><Relationship Id="rId4" Type="http://schemas.openxmlformats.org/officeDocument/2006/relationships/slideLayout" Target="../slideLayouts/slideLayout567.xml"/><Relationship Id="rId180" Type="http://schemas.openxmlformats.org/officeDocument/2006/relationships/slideLayout" Target="../slideLayouts/slideLayout743.xml"/><Relationship Id="rId236" Type="http://schemas.openxmlformats.org/officeDocument/2006/relationships/slideLayout" Target="../slideLayouts/slideLayout799.xml"/><Relationship Id="rId278" Type="http://schemas.openxmlformats.org/officeDocument/2006/relationships/slideLayout" Target="../slideLayouts/slideLayout841.xml"/><Relationship Id="rId401" Type="http://schemas.openxmlformats.org/officeDocument/2006/relationships/slideLayout" Target="../slideLayouts/slideLayout964.xml"/><Relationship Id="rId443" Type="http://schemas.openxmlformats.org/officeDocument/2006/relationships/slideLayout" Target="../slideLayouts/slideLayout1006.xml"/><Relationship Id="rId303" Type="http://schemas.openxmlformats.org/officeDocument/2006/relationships/slideLayout" Target="../slideLayouts/slideLayout866.xml"/><Relationship Id="rId485" Type="http://schemas.openxmlformats.org/officeDocument/2006/relationships/slideLayout" Target="../slideLayouts/slideLayout1048.xml"/><Relationship Id="rId42" Type="http://schemas.openxmlformats.org/officeDocument/2006/relationships/slideLayout" Target="../slideLayouts/slideLayout605.xml"/><Relationship Id="rId84" Type="http://schemas.openxmlformats.org/officeDocument/2006/relationships/slideLayout" Target="../slideLayouts/slideLayout647.xml"/><Relationship Id="rId138" Type="http://schemas.openxmlformats.org/officeDocument/2006/relationships/slideLayout" Target="../slideLayouts/slideLayout701.xml"/><Relationship Id="rId345" Type="http://schemas.openxmlformats.org/officeDocument/2006/relationships/slideLayout" Target="../slideLayouts/slideLayout908.xml"/><Relationship Id="rId387" Type="http://schemas.openxmlformats.org/officeDocument/2006/relationships/slideLayout" Target="../slideLayouts/slideLayout950.xml"/><Relationship Id="rId510" Type="http://schemas.openxmlformats.org/officeDocument/2006/relationships/slideLayout" Target="../slideLayouts/slideLayout1073.xml"/><Relationship Id="rId191" Type="http://schemas.openxmlformats.org/officeDocument/2006/relationships/slideLayout" Target="../slideLayouts/slideLayout754.xml"/><Relationship Id="rId205" Type="http://schemas.openxmlformats.org/officeDocument/2006/relationships/slideLayout" Target="../slideLayouts/slideLayout768.xml"/><Relationship Id="rId247" Type="http://schemas.openxmlformats.org/officeDocument/2006/relationships/slideLayout" Target="../slideLayouts/slideLayout810.xml"/><Relationship Id="rId412" Type="http://schemas.openxmlformats.org/officeDocument/2006/relationships/slideLayout" Target="../slideLayouts/slideLayout975.xml"/><Relationship Id="rId107" Type="http://schemas.openxmlformats.org/officeDocument/2006/relationships/slideLayout" Target="../slideLayouts/slideLayout670.xml"/><Relationship Id="rId289" Type="http://schemas.openxmlformats.org/officeDocument/2006/relationships/slideLayout" Target="../slideLayouts/slideLayout852.xml"/><Relationship Id="rId454" Type="http://schemas.openxmlformats.org/officeDocument/2006/relationships/slideLayout" Target="../slideLayouts/slideLayout1017.xml"/><Relationship Id="rId496" Type="http://schemas.openxmlformats.org/officeDocument/2006/relationships/slideLayout" Target="../slideLayouts/slideLayout1059.xml"/><Relationship Id="rId11" Type="http://schemas.openxmlformats.org/officeDocument/2006/relationships/slideLayout" Target="../slideLayouts/slideLayout574.xml"/><Relationship Id="rId53" Type="http://schemas.openxmlformats.org/officeDocument/2006/relationships/slideLayout" Target="../slideLayouts/slideLayout616.xml"/><Relationship Id="rId149" Type="http://schemas.openxmlformats.org/officeDocument/2006/relationships/slideLayout" Target="../slideLayouts/slideLayout712.xml"/><Relationship Id="rId314" Type="http://schemas.openxmlformats.org/officeDocument/2006/relationships/slideLayout" Target="../slideLayouts/slideLayout877.xml"/><Relationship Id="rId356" Type="http://schemas.openxmlformats.org/officeDocument/2006/relationships/slideLayout" Target="../slideLayouts/slideLayout919.xml"/><Relationship Id="rId398" Type="http://schemas.openxmlformats.org/officeDocument/2006/relationships/slideLayout" Target="../slideLayouts/slideLayout961.xml"/><Relationship Id="rId521" Type="http://schemas.openxmlformats.org/officeDocument/2006/relationships/slideLayout" Target="../slideLayouts/slideLayout1084.xml"/><Relationship Id="rId95" Type="http://schemas.openxmlformats.org/officeDocument/2006/relationships/slideLayout" Target="../slideLayouts/slideLayout658.xml"/><Relationship Id="rId160" Type="http://schemas.openxmlformats.org/officeDocument/2006/relationships/slideLayout" Target="../slideLayouts/slideLayout723.xml"/><Relationship Id="rId216" Type="http://schemas.openxmlformats.org/officeDocument/2006/relationships/slideLayout" Target="../slideLayouts/slideLayout779.xml"/><Relationship Id="rId423" Type="http://schemas.openxmlformats.org/officeDocument/2006/relationships/slideLayout" Target="../slideLayouts/slideLayout986.xml"/><Relationship Id="rId258" Type="http://schemas.openxmlformats.org/officeDocument/2006/relationships/slideLayout" Target="../slideLayouts/slideLayout821.xml"/><Relationship Id="rId465" Type="http://schemas.openxmlformats.org/officeDocument/2006/relationships/slideLayout" Target="../slideLayouts/slideLayout1028.xml"/><Relationship Id="rId22" Type="http://schemas.openxmlformats.org/officeDocument/2006/relationships/slideLayout" Target="../slideLayouts/slideLayout585.xml"/><Relationship Id="rId64" Type="http://schemas.openxmlformats.org/officeDocument/2006/relationships/slideLayout" Target="../slideLayouts/slideLayout627.xml"/><Relationship Id="rId118" Type="http://schemas.openxmlformats.org/officeDocument/2006/relationships/slideLayout" Target="../slideLayouts/slideLayout681.xml"/><Relationship Id="rId325" Type="http://schemas.openxmlformats.org/officeDocument/2006/relationships/slideLayout" Target="../slideLayouts/slideLayout888.xml"/><Relationship Id="rId367" Type="http://schemas.openxmlformats.org/officeDocument/2006/relationships/slideLayout" Target="../slideLayouts/slideLayout930.xml"/><Relationship Id="rId532" Type="http://schemas.openxmlformats.org/officeDocument/2006/relationships/slideLayout" Target="../slideLayouts/slideLayout1095.xml"/><Relationship Id="rId171" Type="http://schemas.openxmlformats.org/officeDocument/2006/relationships/slideLayout" Target="../slideLayouts/slideLayout734.xml"/><Relationship Id="rId227" Type="http://schemas.openxmlformats.org/officeDocument/2006/relationships/slideLayout" Target="../slideLayouts/slideLayout790.xml"/><Relationship Id="rId269" Type="http://schemas.openxmlformats.org/officeDocument/2006/relationships/slideLayout" Target="../slideLayouts/slideLayout832.xml"/><Relationship Id="rId434" Type="http://schemas.openxmlformats.org/officeDocument/2006/relationships/slideLayout" Target="../slideLayouts/slideLayout997.xml"/><Relationship Id="rId476" Type="http://schemas.openxmlformats.org/officeDocument/2006/relationships/slideLayout" Target="../slideLayouts/slideLayout1039.xml"/><Relationship Id="rId33" Type="http://schemas.openxmlformats.org/officeDocument/2006/relationships/slideLayout" Target="../slideLayouts/slideLayout596.xml"/><Relationship Id="rId129" Type="http://schemas.openxmlformats.org/officeDocument/2006/relationships/slideLayout" Target="../slideLayouts/slideLayout692.xml"/><Relationship Id="rId280" Type="http://schemas.openxmlformats.org/officeDocument/2006/relationships/slideLayout" Target="../slideLayouts/slideLayout843.xml"/><Relationship Id="rId336" Type="http://schemas.openxmlformats.org/officeDocument/2006/relationships/slideLayout" Target="../slideLayouts/slideLayout899.xml"/><Relationship Id="rId501" Type="http://schemas.openxmlformats.org/officeDocument/2006/relationships/slideLayout" Target="../slideLayouts/slideLayout1064.xml"/><Relationship Id="rId543" Type="http://schemas.openxmlformats.org/officeDocument/2006/relationships/theme" Target="../theme/theme4.xml"/><Relationship Id="rId75" Type="http://schemas.openxmlformats.org/officeDocument/2006/relationships/slideLayout" Target="../slideLayouts/slideLayout638.xml"/><Relationship Id="rId140" Type="http://schemas.openxmlformats.org/officeDocument/2006/relationships/slideLayout" Target="../slideLayouts/slideLayout703.xml"/><Relationship Id="rId182" Type="http://schemas.openxmlformats.org/officeDocument/2006/relationships/slideLayout" Target="../slideLayouts/slideLayout745.xml"/><Relationship Id="rId378" Type="http://schemas.openxmlformats.org/officeDocument/2006/relationships/slideLayout" Target="../slideLayouts/slideLayout941.xml"/><Relationship Id="rId403" Type="http://schemas.openxmlformats.org/officeDocument/2006/relationships/slideLayout" Target="../slideLayouts/slideLayout966.xml"/><Relationship Id="rId6" Type="http://schemas.openxmlformats.org/officeDocument/2006/relationships/slideLayout" Target="../slideLayouts/slideLayout569.xml"/><Relationship Id="rId238" Type="http://schemas.openxmlformats.org/officeDocument/2006/relationships/slideLayout" Target="../slideLayouts/slideLayout801.xml"/><Relationship Id="rId445" Type="http://schemas.openxmlformats.org/officeDocument/2006/relationships/slideLayout" Target="../slideLayouts/slideLayout1008.xml"/><Relationship Id="rId487" Type="http://schemas.openxmlformats.org/officeDocument/2006/relationships/slideLayout" Target="../slideLayouts/slideLayout1050.xml"/><Relationship Id="rId291" Type="http://schemas.openxmlformats.org/officeDocument/2006/relationships/slideLayout" Target="../slideLayouts/slideLayout854.xml"/><Relationship Id="rId305" Type="http://schemas.openxmlformats.org/officeDocument/2006/relationships/slideLayout" Target="../slideLayouts/slideLayout868.xml"/><Relationship Id="rId347" Type="http://schemas.openxmlformats.org/officeDocument/2006/relationships/slideLayout" Target="../slideLayouts/slideLayout910.xml"/><Relationship Id="rId512" Type="http://schemas.openxmlformats.org/officeDocument/2006/relationships/slideLayout" Target="../slideLayouts/slideLayout1075.xml"/><Relationship Id="rId44" Type="http://schemas.openxmlformats.org/officeDocument/2006/relationships/slideLayout" Target="../slideLayouts/slideLayout607.xml"/><Relationship Id="rId86" Type="http://schemas.openxmlformats.org/officeDocument/2006/relationships/slideLayout" Target="../slideLayouts/slideLayout649.xml"/><Relationship Id="rId151" Type="http://schemas.openxmlformats.org/officeDocument/2006/relationships/slideLayout" Target="../slideLayouts/slideLayout714.xml"/><Relationship Id="rId389" Type="http://schemas.openxmlformats.org/officeDocument/2006/relationships/slideLayout" Target="../slideLayouts/slideLayout952.xml"/><Relationship Id="rId193" Type="http://schemas.openxmlformats.org/officeDocument/2006/relationships/slideLayout" Target="../slideLayouts/slideLayout756.xml"/><Relationship Id="rId207" Type="http://schemas.openxmlformats.org/officeDocument/2006/relationships/slideLayout" Target="../slideLayouts/slideLayout770.xml"/><Relationship Id="rId249" Type="http://schemas.openxmlformats.org/officeDocument/2006/relationships/slideLayout" Target="../slideLayouts/slideLayout812.xml"/><Relationship Id="rId414" Type="http://schemas.openxmlformats.org/officeDocument/2006/relationships/slideLayout" Target="../slideLayouts/slideLayout977.xml"/><Relationship Id="rId456" Type="http://schemas.openxmlformats.org/officeDocument/2006/relationships/slideLayout" Target="../slideLayouts/slideLayout1019.xml"/><Relationship Id="rId498" Type="http://schemas.openxmlformats.org/officeDocument/2006/relationships/slideLayout" Target="../slideLayouts/slideLayout1061.xml"/><Relationship Id="rId13" Type="http://schemas.openxmlformats.org/officeDocument/2006/relationships/slideLayout" Target="../slideLayouts/slideLayout576.xml"/><Relationship Id="rId109" Type="http://schemas.openxmlformats.org/officeDocument/2006/relationships/slideLayout" Target="../slideLayouts/slideLayout672.xml"/><Relationship Id="rId260" Type="http://schemas.openxmlformats.org/officeDocument/2006/relationships/slideLayout" Target="../slideLayouts/slideLayout823.xml"/><Relationship Id="rId316" Type="http://schemas.openxmlformats.org/officeDocument/2006/relationships/slideLayout" Target="../slideLayouts/slideLayout879.xml"/><Relationship Id="rId523" Type="http://schemas.openxmlformats.org/officeDocument/2006/relationships/slideLayout" Target="../slideLayouts/slideLayout1086.xml"/><Relationship Id="rId55" Type="http://schemas.openxmlformats.org/officeDocument/2006/relationships/slideLayout" Target="../slideLayouts/slideLayout618.xml"/><Relationship Id="rId97" Type="http://schemas.openxmlformats.org/officeDocument/2006/relationships/slideLayout" Target="../slideLayouts/slideLayout660.xml"/><Relationship Id="rId120" Type="http://schemas.openxmlformats.org/officeDocument/2006/relationships/slideLayout" Target="../slideLayouts/slideLayout683.xml"/><Relationship Id="rId358" Type="http://schemas.openxmlformats.org/officeDocument/2006/relationships/slideLayout" Target="../slideLayouts/slideLayout921.xml"/><Relationship Id="rId162" Type="http://schemas.openxmlformats.org/officeDocument/2006/relationships/slideLayout" Target="../slideLayouts/slideLayout725.xml"/><Relationship Id="rId218" Type="http://schemas.openxmlformats.org/officeDocument/2006/relationships/slideLayout" Target="../slideLayouts/slideLayout781.xml"/><Relationship Id="rId425" Type="http://schemas.openxmlformats.org/officeDocument/2006/relationships/slideLayout" Target="../slideLayouts/slideLayout988.xml"/><Relationship Id="rId467" Type="http://schemas.openxmlformats.org/officeDocument/2006/relationships/slideLayout" Target="../slideLayouts/slideLayout1030.xml"/><Relationship Id="rId271" Type="http://schemas.openxmlformats.org/officeDocument/2006/relationships/slideLayout" Target="../slideLayouts/slideLayout834.xml"/><Relationship Id="rId24" Type="http://schemas.openxmlformats.org/officeDocument/2006/relationships/slideLayout" Target="../slideLayouts/slideLayout587.xml"/><Relationship Id="rId66" Type="http://schemas.openxmlformats.org/officeDocument/2006/relationships/slideLayout" Target="../slideLayouts/slideLayout629.xml"/><Relationship Id="rId131" Type="http://schemas.openxmlformats.org/officeDocument/2006/relationships/slideLayout" Target="../slideLayouts/slideLayout694.xml"/><Relationship Id="rId327" Type="http://schemas.openxmlformats.org/officeDocument/2006/relationships/slideLayout" Target="../slideLayouts/slideLayout890.xml"/><Relationship Id="rId369" Type="http://schemas.openxmlformats.org/officeDocument/2006/relationships/slideLayout" Target="../slideLayouts/slideLayout932.xml"/><Relationship Id="rId534" Type="http://schemas.openxmlformats.org/officeDocument/2006/relationships/slideLayout" Target="../slideLayouts/slideLayout1097.xml"/><Relationship Id="rId173" Type="http://schemas.openxmlformats.org/officeDocument/2006/relationships/slideLayout" Target="../slideLayouts/slideLayout736.xml"/><Relationship Id="rId229" Type="http://schemas.openxmlformats.org/officeDocument/2006/relationships/slideLayout" Target="../slideLayouts/slideLayout792.xml"/><Relationship Id="rId380" Type="http://schemas.openxmlformats.org/officeDocument/2006/relationships/slideLayout" Target="../slideLayouts/slideLayout943.xml"/><Relationship Id="rId436" Type="http://schemas.openxmlformats.org/officeDocument/2006/relationships/slideLayout" Target="../slideLayouts/slideLayout999.xml"/><Relationship Id="rId240" Type="http://schemas.openxmlformats.org/officeDocument/2006/relationships/slideLayout" Target="../slideLayouts/slideLayout803.xml"/><Relationship Id="rId478" Type="http://schemas.openxmlformats.org/officeDocument/2006/relationships/slideLayout" Target="../slideLayouts/slideLayout1041.xml"/><Relationship Id="rId35" Type="http://schemas.openxmlformats.org/officeDocument/2006/relationships/slideLayout" Target="../slideLayouts/slideLayout598.xml"/><Relationship Id="rId77" Type="http://schemas.openxmlformats.org/officeDocument/2006/relationships/slideLayout" Target="../slideLayouts/slideLayout640.xml"/><Relationship Id="rId100" Type="http://schemas.openxmlformats.org/officeDocument/2006/relationships/slideLayout" Target="../slideLayouts/slideLayout663.xml"/><Relationship Id="rId282" Type="http://schemas.openxmlformats.org/officeDocument/2006/relationships/slideLayout" Target="../slideLayouts/slideLayout845.xml"/><Relationship Id="rId338" Type="http://schemas.openxmlformats.org/officeDocument/2006/relationships/slideLayout" Target="../slideLayouts/slideLayout901.xml"/><Relationship Id="rId503" Type="http://schemas.openxmlformats.org/officeDocument/2006/relationships/slideLayout" Target="../slideLayouts/slideLayout1066.xml"/><Relationship Id="rId8" Type="http://schemas.openxmlformats.org/officeDocument/2006/relationships/slideLayout" Target="../slideLayouts/slideLayout571.xml"/><Relationship Id="rId142" Type="http://schemas.openxmlformats.org/officeDocument/2006/relationships/slideLayout" Target="../slideLayouts/slideLayout705.xml"/><Relationship Id="rId184" Type="http://schemas.openxmlformats.org/officeDocument/2006/relationships/slideLayout" Target="../slideLayouts/slideLayout747.xml"/><Relationship Id="rId391" Type="http://schemas.openxmlformats.org/officeDocument/2006/relationships/slideLayout" Target="../slideLayouts/slideLayout954.xml"/><Relationship Id="rId405" Type="http://schemas.openxmlformats.org/officeDocument/2006/relationships/slideLayout" Target="../slideLayouts/slideLayout968.xml"/><Relationship Id="rId447" Type="http://schemas.openxmlformats.org/officeDocument/2006/relationships/slideLayout" Target="../slideLayouts/slideLayout1010.xml"/><Relationship Id="rId251" Type="http://schemas.openxmlformats.org/officeDocument/2006/relationships/slideLayout" Target="../slideLayouts/slideLayout814.xml"/><Relationship Id="rId489" Type="http://schemas.openxmlformats.org/officeDocument/2006/relationships/slideLayout" Target="../slideLayouts/slideLayout1052.xml"/><Relationship Id="rId46" Type="http://schemas.openxmlformats.org/officeDocument/2006/relationships/slideLayout" Target="../slideLayouts/slideLayout609.xml"/><Relationship Id="rId293" Type="http://schemas.openxmlformats.org/officeDocument/2006/relationships/slideLayout" Target="../slideLayouts/slideLayout856.xml"/><Relationship Id="rId307" Type="http://schemas.openxmlformats.org/officeDocument/2006/relationships/slideLayout" Target="../slideLayouts/slideLayout870.xml"/><Relationship Id="rId349" Type="http://schemas.openxmlformats.org/officeDocument/2006/relationships/slideLayout" Target="../slideLayouts/slideLayout912.xml"/><Relationship Id="rId514" Type="http://schemas.openxmlformats.org/officeDocument/2006/relationships/slideLayout" Target="../slideLayouts/slideLayout1077.xml"/><Relationship Id="rId88" Type="http://schemas.openxmlformats.org/officeDocument/2006/relationships/slideLayout" Target="../slideLayouts/slideLayout651.xml"/><Relationship Id="rId111" Type="http://schemas.openxmlformats.org/officeDocument/2006/relationships/slideLayout" Target="../slideLayouts/slideLayout674.xml"/><Relationship Id="rId153" Type="http://schemas.openxmlformats.org/officeDocument/2006/relationships/slideLayout" Target="../slideLayouts/slideLayout716.xml"/><Relationship Id="rId195" Type="http://schemas.openxmlformats.org/officeDocument/2006/relationships/slideLayout" Target="../slideLayouts/slideLayout758.xml"/><Relationship Id="rId209" Type="http://schemas.openxmlformats.org/officeDocument/2006/relationships/slideLayout" Target="../slideLayouts/slideLayout772.xml"/><Relationship Id="rId360" Type="http://schemas.openxmlformats.org/officeDocument/2006/relationships/slideLayout" Target="../slideLayouts/slideLayout923.xml"/><Relationship Id="rId416" Type="http://schemas.openxmlformats.org/officeDocument/2006/relationships/slideLayout" Target="../slideLayouts/slideLayout979.xml"/><Relationship Id="rId220" Type="http://schemas.openxmlformats.org/officeDocument/2006/relationships/slideLayout" Target="../slideLayouts/slideLayout783.xml"/><Relationship Id="rId458" Type="http://schemas.openxmlformats.org/officeDocument/2006/relationships/slideLayout" Target="../slideLayouts/slideLayout1021.xml"/><Relationship Id="rId15" Type="http://schemas.openxmlformats.org/officeDocument/2006/relationships/slideLayout" Target="../slideLayouts/slideLayout578.xml"/><Relationship Id="rId57" Type="http://schemas.openxmlformats.org/officeDocument/2006/relationships/slideLayout" Target="../slideLayouts/slideLayout620.xml"/><Relationship Id="rId262" Type="http://schemas.openxmlformats.org/officeDocument/2006/relationships/slideLayout" Target="../slideLayouts/slideLayout825.xml"/><Relationship Id="rId318" Type="http://schemas.openxmlformats.org/officeDocument/2006/relationships/slideLayout" Target="../slideLayouts/slideLayout881.xml"/><Relationship Id="rId525" Type="http://schemas.openxmlformats.org/officeDocument/2006/relationships/slideLayout" Target="../slideLayouts/slideLayout1088.xml"/><Relationship Id="rId99" Type="http://schemas.openxmlformats.org/officeDocument/2006/relationships/slideLayout" Target="../slideLayouts/slideLayout662.xml"/><Relationship Id="rId122" Type="http://schemas.openxmlformats.org/officeDocument/2006/relationships/slideLayout" Target="../slideLayouts/slideLayout685.xml"/><Relationship Id="rId164" Type="http://schemas.openxmlformats.org/officeDocument/2006/relationships/slideLayout" Target="../slideLayouts/slideLayout727.xml"/><Relationship Id="rId371" Type="http://schemas.openxmlformats.org/officeDocument/2006/relationships/slideLayout" Target="../slideLayouts/slideLayout934.xml"/><Relationship Id="rId427" Type="http://schemas.openxmlformats.org/officeDocument/2006/relationships/slideLayout" Target="../slideLayouts/slideLayout990.xml"/><Relationship Id="rId469" Type="http://schemas.openxmlformats.org/officeDocument/2006/relationships/slideLayout" Target="../slideLayouts/slideLayout1032.xml"/><Relationship Id="rId26" Type="http://schemas.openxmlformats.org/officeDocument/2006/relationships/slideLayout" Target="../slideLayouts/slideLayout589.xml"/><Relationship Id="rId231" Type="http://schemas.openxmlformats.org/officeDocument/2006/relationships/slideLayout" Target="../slideLayouts/slideLayout794.xml"/><Relationship Id="rId273" Type="http://schemas.openxmlformats.org/officeDocument/2006/relationships/slideLayout" Target="../slideLayouts/slideLayout836.xml"/><Relationship Id="rId329" Type="http://schemas.openxmlformats.org/officeDocument/2006/relationships/slideLayout" Target="../slideLayouts/slideLayout892.xml"/><Relationship Id="rId480" Type="http://schemas.openxmlformats.org/officeDocument/2006/relationships/slideLayout" Target="../slideLayouts/slideLayout1043.xml"/><Relationship Id="rId536" Type="http://schemas.openxmlformats.org/officeDocument/2006/relationships/slideLayout" Target="../slideLayouts/slideLayout1099.xml"/><Relationship Id="rId68" Type="http://schemas.openxmlformats.org/officeDocument/2006/relationships/slideLayout" Target="../slideLayouts/slideLayout631.xml"/><Relationship Id="rId133" Type="http://schemas.openxmlformats.org/officeDocument/2006/relationships/slideLayout" Target="../slideLayouts/slideLayout696.xml"/><Relationship Id="rId175" Type="http://schemas.openxmlformats.org/officeDocument/2006/relationships/slideLayout" Target="../slideLayouts/slideLayout738.xml"/><Relationship Id="rId340" Type="http://schemas.openxmlformats.org/officeDocument/2006/relationships/slideLayout" Target="../slideLayouts/slideLayout903.xml"/><Relationship Id="rId200" Type="http://schemas.openxmlformats.org/officeDocument/2006/relationships/slideLayout" Target="../slideLayouts/slideLayout763.xml"/><Relationship Id="rId382" Type="http://schemas.openxmlformats.org/officeDocument/2006/relationships/slideLayout" Target="../slideLayouts/slideLayout945.xml"/><Relationship Id="rId438" Type="http://schemas.openxmlformats.org/officeDocument/2006/relationships/slideLayout" Target="../slideLayouts/slideLayout1001.xml"/><Relationship Id="rId242" Type="http://schemas.openxmlformats.org/officeDocument/2006/relationships/slideLayout" Target="../slideLayouts/slideLayout805.xml"/><Relationship Id="rId284" Type="http://schemas.openxmlformats.org/officeDocument/2006/relationships/slideLayout" Target="../slideLayouts/slideLayout847.xml"/><Relationship Id="rId491" Type="http://schemas.openxmlformats.org/officeDocument/2006/relationships/slideLayout" Target="../slideLayouts/slideLayout1054.xml"/><Relationship Id="rId505" Type="http://schemas.openxmlformats.org/officeDocument/2006/relationships/slideLayout" Target="../slideLayouts/slideLayout1068.xml"/><Relationship Id="rId37" Type="http://schemas.openxmlformats.org/officeDocument/2006/relationships/slideLayout" Target="../slideLayouts/slideLayout600.xml"/><Relationship Id="rId79" Type="http://schemas.openxmlformats.org/officeDocument/2006/relationships/slideLayout" Target="../slideLayouts/slideLayout642.xml"/><Relationship Id="rId102" Type="http://schemas.openxmlformats.org/officeDocument/2006/relationships/slideLayout" Target="../slideLayouts/slideLayout665.xml"/><Relationship Id="rId144" Type="http://schemas.openxmlformats.org/officeDocument/2006/relationships/slideLayout" Target="../slideLayouts/slideLayout707.xml"/><Relationship Id="rId90" Type="http://schemas.openxmlformats.org/officeDocument/2006/relationships/slideLayout" Target="../slideLayouts/slideLayout653.xml"/><Relationship Id="rId186" Type="http://schemas.openxmlformats.org/officeDocument/2006/relationships/slideLayout" Target="../slideLayouts/slideLayout749.xml"/><Relationship Id="rId351" Type="http://schemas.openxmlformats.org/officeDocument/2006/relationships/slideLayout" Target="../slideLayouts/slideLayout914.xml"/><Relationship Id="rId393" Type="http://schemas.openxmlformats.org/officeDocument/2006/relationships/slideLayout" Target="../slideLayouts/slideLayout956.xml"/><Relationship Id="rId407" Type="http://schemas.openxmlformats.org/officeDocument/2006/relationships/slideLayout" Target="../slideLayouts/slideLayout970.xml"/><Relationship Id="rId449" Type="http://schemas.openxmlformats.org/officeDocument/2006/relationships/slideLayout" Target="../slideLayouts/slideLayout1012.xml"/><Relationship Id="rId211" Type="http://schemas.openxmlformats.org/officeDocument/2006/relationships/slideLayout" Target="../slideLayouts/slideLayout774.xml"/><Relationship Id="rId253" Type="http://schemas.openxmlformats.org/officeDocument/2006/relationships/slideLayout" Target="../slideLayouts/slideLayout816.xml"/><Relationship Id="rId295" Type="http://schemas.openxmlformats.org/officeDocument/2006/relationships/slideLayout" Target="../slideLayouts/slideLayout858.xml"/><Relationship Id="rId309" Type="http://schemas.openxmlformats.org/officeDocument/2006/relationships/slideLayout" Target="../slideLayouts/slideLayout872.xml"/><Relationship Id="rId460" Type="http://schemas.openxmlformats.org/officeDocument/2006/relationships/slideLayout" Target="../slideLayouts/slideLayout1023.xml"/><Relationship Id="rId516" Type="http://schemas.openxmlformats.org/officeDocument/2006/relationships/slideLayout" Target="../slideLayouts/slideLayout1079.xml"/><Relationship Id="rId48" Type="http://schemas.openxmlformats.org/officeDocument/2006/relationships/slideLayout" Target="../slideLayouts/slideLayout611.xml"/><Relationship Id="rId113" Type="http://schemas.openxmlformats.org/officeDocument/2006/relationships/slideLayout" Target="../slideLayouts/slideLayout676.xml"/><Relationship Id="rId320" Type="http://schemas.openxmlformats.org/officeDocument/2006/relationships/slideLayout" Target="../slideLayouts/slideLayout883.xml"/><Relationship Id="rId155" Type="http://schemas.openxmlformats.org/officeDocument/2006/relationships/slideLayout" Target="../slideLayouts/slideLayout718.xml"/><Relationship Id="rId197" Type="http://schemas.openxmlformats.org/officeDocument/2006/relationships/slideLayout" Target="../slideLayouts/slideLayout760.xml"/><Relationship Id="rId362" Type="http://schemas.openxmlformats.org/officeDocument/2006/relationships/slideLayout" Target="../slideLayouts/slideLayout925.xml"/><Relationship Id="rId418" Type="http://schemas.openxmlformats.org/officeDocument/2006/relationships/slideLayout" Target="../slideLayouts/slideLayout981.xml"/><Relationship Id="rId222" Type="http://schemas.openxmlformats.org/officeDocument/2006/relationships/slideLayout" Target="../slideLayouts/slideLayout785.xml"/><Relationship Id="rId264" Type="http://schemas.openxmlformats.org/officeDocument/2006/relationships/slideLayout" Target="../slideLayouts/slideLayout827.xml"/><Relationship Id="rId471" Type="http://schemas.openxmlformats.org/officeDocument/2006/relationships/slideLayout" Target="../slideLayouts/slideLayout1034.xml"/><Relationship Id="rId17" Type="http://schemas.openxmlformats.org/officeDocument/2006/relationships/slideLayout" Target="../slideLayouts/slideLayout580.xml"/><Relationship Id="rId59" Type="http://schemas.openxmlformats.org/officeDocument/2006/relationships/slideLayout" Target="../slideLayouts/slideLayout622.xml"/><Relationship Id="rId124" Type="http://schemas.openxmlformats.org/officeDocument/2006/relationships/slideLayout" Target="../slideLayouts/slideLayout687.xml"/><Relationship Id="rId527" Type="http://schemas.openxmlformats.org/officeDocument/2006/relationships/slideLayout" Target="../slideLayouts/slideLayout1090.xml"/><Relationship Id="rId70" Type="http://schemas.openxmlformats.org/officeDocument/2006/relationships/slideLayout" Target="../slideLayouts/slideLayout633.xml"/><Relationship Id="rId166" Type="http://schemas.openxmlformats.org/officeDocument/2006/relationships/slideLayout" Target="../slideLayouts/slideLayout729.xml"/><Relationship Id="rId331" Type="http://schemas.openxmlformats.org/officeDocument/2006/relationships/slideLayout" Target="../slideLayouts/slideLayout894.xml"/><Relationship Id="rId373" Type="http://schemas.openxmlformats.org/officeDocument/2006/relationships/slideLayout" Target="../slideLayouts/slideLayout936.xml"/><Relationship Id="rId429" Type="http://schemas.openxmlformats.org/officeDocument/2006/relationships/slideLayout" Target="../slideLayouts/slideLayout992.xml"/><Relationship Id="rId1" Type="http://schemas.openxmlformats.org/officeDocument/2006/relationships/slideLayout" Target="../slideLayouts/slideLayout564.xml"/><Relationship Id="rId233" Type="http://schemas.openxmlformats.org/officeDocument/2006/relationships/slideLayout" Target="../slideLayouts/slideLayout796.xml"/><Relationship Id="rId440" Type="http://schemas.openxmlformats.org/officeDocument/2006/relationships/slideLayout" Target="../slideLayouts/slideLayout1003.xml"/><Relationship Id="rId28" Type="http://schemas.openxmlformats.org/officeDocument/2006/relationships/slideLayout" Target="../slideLayouts/slideLayout591.xml"/><Relationship Id="rId275" Type="http://schemas.openxmlformats.org/officeDocument/2006/relationships/slideLayout" Target="../slideLayouts/slideLayout838.xml"/><Relationship Id="rId300" Type="http://schemas.openxmlformats.org/officeDocument/2006/relationships/slideLayout" Target="../slideLayouts/slideLayout863.xml"/><Relationship Id="rId482" Type="http://schemas.openxmlformats.org/officeDocument/2006/relationships/slideLayout" Target="../slideLayouts/slideLayout1045.xml"/><Relationship Id="rId538" Type="http://schemas.openxmlformats.org/officeDocument/2006/relationships/slideLayout" Target="../slideLayouts/slideLayout1101.xml"/><Relationship Id="rId81" Type="http://schemas.openxmlformats.org/officeDocument/2006/relationships/slideLayout" Target="../slideLayouts/slideLayout644.xml"/><Relationship Id="rId135" Type="http://schemas.openxmlformats.org/officeDocument/2006/relationships/slideLayout" Target="../slideLayouts/slideLayout698.xml"/><Relationship Id="rId177" Type="http://schemas.openxmlformats.org/officeDocument/2006/relationships/slideLayout" Target="../slideLayouts/slideLayout740.xml"/><Relationship Id="rId342" Type="http://schemas.openxmlformats.org/officeDocument/2006/relationships/slideLayout" Target="../slideLayouts/slideLayout905.xml"/><Relationship Id="rId384" Type="http://schemas.openxmlformats.org/officeDocument/2006/relationships/slideLayout" Target="../slideLayouts/slideLayout947.xml"/><Relationship Id="rId202" Type="http://schemas.openxmlformats.org/officeDocument/2006/relationships/slideLayout" Target="../slideLayouts/slideLayout765.xml"/><Relationship Id="rId244" Type="http://schemas.openxmlformats.org/officeDocument/2006/relationships/slideLayout" Target="../slideLayouts/slideLayout807.xml"/><Relationship Id="rId39" Type="http://schemas.openxmlformats.org/officeDocument/2006/relationships/slideLayout" Target="../slideLayouts/slideLayout602.xml"/><Relationship Id="rId286" Type="http://schemas.openxmlformats.org/officeDocument/2006/relationships/slideLayout" Target="../slideLayouts/slideLayout849.xml"/><Relationship Id="rId451" Type="http://schemas.openxmlformats.org/officeDocument/2006/relationships/slideLayout" Target="../slideLayouts/slideLayout1014.xml"/><Relationship Id="rId493" Type="http://schemas.openxmlformats.org/officeDocument/2006/relationships/slideLayout" Target="../slideLayouts/slideLayout1056.xml"/><Relationship Id="rId507" Type="http://schemas.openxmlformats.org/officeDocument/2006/relationships/slideLayout" Target="../slideLayouts/slideLayout1070.xml"/><Relationship Id="rId50" Type="http://schemas.openxmlformats.org/officeDocument/2006/relationships/slideLayout" Target="../slideLayouts/slideLayout613.xml"/><Relationship Id="rId104" Type="http://schemas.openxmlformats.org/officeDocument/2006/relationships/slideLayout" Target="../slideLayouts/slideLayout667.xml"/><Relationship Id="rId146" Type="http://schemas.openxmlformats.org/officeDocument/2006/relationships/slideLayout" Target="../slideLayouts/slideLayout709.xml"/><Relationship Id="rId188" Type="http://schemas.openxmlformats.org/officeDocument/2006/relationships/slideLayout" Target="../slideLayouts/slideLayout751.xml"/><Relationship Id="rId311" Type="http://schemas.openxmlformats.org/officeDocument/2006/relationships/slideLayout" Target="../slideLayouts/slideLayout874.xml"/><Relationship Id="rId353" Type="http://schemas.openxmlformats.org/officeDocument/2006/relationships/slideLayout" Target="../slideLayouts/slideLayout916.xml"/><Relationship Id="rId395" Type="http://schemas.openxmlformats.org/officeDocument/2006/relationships/slideLayout" Target="../slideLayouts/slideLayout958.xml"/><Relationship Id="rId409" Type="http://schemas.openxmlformats.org/officeDocument/2006/relationships/slideLayout" Target="../slideLayouts/slideLayout972.xml"/><Relationship Id="rId92" Type="http://schemas.openxmlformats.org/officeDocument/2006/relationships/slideLayout" Target="../slideLayouts/slideLayout655.xml"/><Relationship Id="rId213" Type="http://schemas.openxmlformats.org/officeDocument/2006/relationships/slideLayout" Target="../slideLayouts/slideLayout776.xml"/><Relationship Id="rId420" Type="http://schemas.openxmlformats.org/officeDocument/2006/relationships/slideLayout" Target="../slideLayouts/slideLayout983.xml"/><Relationship Id="rId255" Type="http://schemas.openxmlformats.org/officeDocument/2006/relationships/slideLayout" Target="../slideLayouts/slideLayout818.xml"/><Relationship Id="rId297" Type="http://schemas.openxmlformats.org/officeDocument/2006/relationships/slideLayout" Target="../slideLayouts/slideLayout860.xml"/><Relationship Id="rId462" Type="http://schemas.openxmlformats.org/officeDocument/2006/relationships/slideLayout" Target="../slideLayouts/slideLayout1025.xml"/><Relationship Id="rId518" Type="http://schemas.openxmlformats.org/officeDocument/2006/relationships/slideLayout" Target="../slideLayouts/slideLayout1081.xml"/><Relationship Id="rId115" Type="http://schemas.openxmlformats.org/officeDocument/2006/relationships/slideLayout" Target="../slideLayouts/slideLayout678.xml"/><Relationship Id="rId157" Type="http://schemas.openxmlformats.org/officeDocument/2006/relationships/slideLayout" Target="../slideLayouts/slideLayout720.xml"/><Relationship Id="rId322" Type="http://schemas.openxmlformats.org/officeDocument/2006/relationships/slideLayout" Target="../slideLayouts/slideLayout885.xml"/><Relationship Id="rId364" Type="http://schemas.openxmlformats.org/officeDocument/2006/relationships/slideLayout" Target="../slideLayouts/slideLayout927.xml"/><Relationship Id="rId61" Type="http://schemas.openxmlformats.org/officeDocument/2006/relationships/slideLayout" Target="../slideLayouts/slideLayout624.xml"/><Relationship Id="rId199" Type="http://schemas.openxmlformats.org/officeDocument/2006/relationships/slideLayout" Target="../slideLayouts/slideLayout762.xml"/><Relationship Id="rId19" Type="http://schemas.openxmlformats.org/officeDocument/2006/relationships/slideLayout" Target="../slideLayouts/slideLayout582.xml"/><Relationship Id="rId224" Type="http://schemas.openxmlformats.org/officeDocument/2006/relationships/slideLayout" Target="../slideLayouts/slideLayout787.xml"/><Relationship Id="rId266" Type="http://schemas.openxmlformats.org/officeDocument/2006/relationships/slideLayout" Target="../slideLayouts/slideLayout829.xml"/><Relationship Id="rId431" Type="http://schemas.openxmlformats.org/officeDocument/2006/relationships/slideLayout" Target="../slideLayouts/slideLayout994.xml"/><Relationship Id="rId473" Type="http://schemas.openxmlformats.org/officeDocument/2006/relationships/slideLayout" Target="../slideLayouts/slideLayout1036.xml"/><Relationship Id="rId529" Type="http://schemas.openxmlformats.org/officeDocument/2006/relationships/slideLayout" Target="../slideLayouts/slideLayout1092.xml"/><Relationship Id="rId30" Type="http://schemas.openxmlformats.org/officeDocument/2006/relationships/slideLayout" Target="../slideLayouts/slideLayout593.xml"/><Relationship Id="rId126" Type="http://schemas.openxmlformats.org/officeDocument/2006/relationships/slideLayout" Target="../slideLayouts/slideLayout689.xml"/><Relationship Id="rId168" Type="http://schemas.openxmlformats.org/officeDocument/2006/relationships/slideLayout" Target="../slideLayouts/slideLayout731.xml"/><Relationship Id="rId333" Type="http://schemas.openxmlformats.org/officeDocument/2006/relationships/slideLayout" Target="../slideLayouts/slideLayout896.xml"/><Relationship Id="rId540" Type="http://schemas.openxmlformats.org/officeDocument/2006/relationships/slideLayout" Target="../slideLayouts/slideLayout1103.xml"/><Relationship Id="rId72" Type="http://schemas.openxmlformats.org/officeDocument/2006/relationships/slideLayout" Target="../slideLayouts/slideLayout635.xml"/><Relationship Id="rId375" Type="http://schemas.openxmlformats.org/officeDocument/2006/relationships/slideLayout" Target="../slideLayouts/slideLayout938.xml"/><Relationship Id="rId3" Type="http://schemas.openxmlformats.org/officeDocument/2006/relationships/slideLayout" Target="../slideLayouts/slideLayout566.xml"/><Relationship Id="rId235" Type="http://schemas.openxmlformats.org/officeDocument/2006/relationships/slideLayout" Target="../slideLayouts/slideLayout798.xml"/><Relationship Id="rId277" Type="http://schemas.openxmlformats.org/officeDocument/2006/relationships/slideLayout" Target="../slideLayouts/slideLayout840.xml"/><Relationship Id="rId400" Type="http://schemas.openxmlformats.org/officeDocument/2006/relationships/slideLayout" Target="../slideLayouts/slideLayout963.xml"/><Relationship Id="rId442" Type="http://schemas.openxmlformats.org/officeDocument/2006/relationships/slideLayout" Target="../slideLayouts/slideLayout1005.xml"/><Relationship Id="rId484" Type="http://schemas.openxmlformats.org/officeDocument/2006/relationships/slideLayout" Target="../slideLayouts/slideLayout1047.xml"/><Relationship Id="rId137" Type="http://schemas.openxmlformats.org/officeDocument/2006/relationships/slideLayout" Target="../slideLayouts/slideLayout700.xml"/><Relationship Id="rId302" Type="http://schemas.openxmlformats.org/officeDocument/2006/relationships/slideLayout" Target="../slideLayouts/slideLayout865.xml"/><Relationship Id="rId344" Type="http://schemas.openxmlformats.org/officeDocument/2006/relationships/slideLayout" Target="../slideLayouts/slideLayout907.xml"/><Relationship Id="rId41" Type="http://schemas.openxmlformats.org/officeDocument/2006/relationships/slideLayout" Target="../slideLayouts/slideLayout604.xml"/><Relationship Id="rId83" Type="http://schemas.openxmlformats.org/officeDocument/2006/relationships/slideLayout" Target="../slideLayouts/slideLayout646.xml"/><Relationship Id="rId179" Type="http://schemas.openxmlformats.org/officeDocument/2006/relationships/slideLayout" Target="../slideLayouts/slideLayout742.xml"/><Relationship Id="rId386" Type="http://schemas.openxmlformats.org/officeDocument/2006/relationships/slideLayout" Target="../slideLayouts/slideLayout949.xml"/><Relationship Id="rId190" Type="http://schemas.openxmlformats.org/officeDocument/2006/relationships/slideLayout" Target="../slideLayouts/slideLayout753.xml"/><Relationship Id="rId204" Type="http://schemas.openxmlformats.org/officeDocument/2006/relationships/slideLayout" Target="../slideLayouts/slideLayout767.xml"/><Relationship Id="rId246" Type="http://schemas.openxmlformats.org/officeDocument/2006/relationships/slideLayout" Target="../slideLayouts/slideLayout809.xml"/><Relationship Id="rId288" Type="http://schemas.openxmlformats.org/officeDocument/2006/relationships/slideLayout" Target="../slideLayouts/slideLayout851.xml"/><Relationship Id="rId411" Type="http://schemas.openxmlformats.org/officeDocument/2006/relationships/slideLayout" Target="../slideLayouts/slideLayout974.xml"/><Relationship Id="rId453" Type="http://schemas.openxmlformats.org/officeDocument/2006/relationships/slideLayout" Target="../slideLayouts/slideLayout1016.xml"/><Relationship Id="rId509" Type="http://schemas.openxmlformats.org/officeDocument/2006/relationships/slideLayout" Target="../slideLayouts/slideLayout1072.xml"/><Relationship Id="rId106" Type="http://schemas.openxmlformats.org/officeDocument/2006/relationships/slideLayout" Target="../slideLayouts/slideLayout669.xml"/><Relationship Id="rId313" Type="http://schemas.openxmlformats.org/officeDocument/2006/relationships/slideLayout" Target="../slideLayouts/slideLayout876.xml"/><Relationship Id="rId495" Type="http://schemas.openxmlformats.org/officeDocument/2006/relationships/slideLayout" Target="../slideLayouts/slideLayout1058.xml"/><Relationship Id="rId10" Type="http://schemas.openxmlformats.org/officeDocument/2006/relationships/slideLayout" Target="../slideLayouts/slideLayout573.xml"/><Relationship Id="rId52" Type="http://schemas.openxmlformats.org/officeDocument/2006/relationships/slideLayout" Target="../slideLayouts/slideLayout615.xml"/><Relationship Id="rId94" Type="http://schemas.openxmlformats.org/officeDocument/2006/relationships/slideLayout" Target="../slideLayouts/slideLayout657.xml"/><Relationship Id="rId148" Type="http://schemas.openxmlformats.org/officeDocument/2006/relationships/slideLayout" Target="../slideLayouts/slideLayout711.xml"/><Relationship Id="rId355" Type="http://schemas.openxmlformats.org/officeDocument/2006/relationships/slideLayout" Target="../slideLayouts/slideLayout918.xml"/><Relationship Id="rId397" Type="http://schemas.openxmlformats.org/officeDocument/2006/relationships/slideLayout" Target="../slideLayouts/slideLayout960.xml"/><Relationship Id="rId520" Type="http://schemas.openxmlformats.org/officeDocument/2006/relationships/slideLayout" Target="../slideLayouts/slideLayout1083.xml"/><Relationship Id="rId215" Type="http://schemas.openxmlformats.org/officeDocument/2006/relationships/slideLayout" Target="../slideLayouts/slideLayout778.xml"/><Relationship Id="rId257" Type="http://schemas.openxmlformats.org/officeDocument/2006/relationships/slideLayout" Target="../slideLayouts/slideLayout820.xml"/><Relationship Id="rId422" Type="http://schemas.openxmlformats.org/officeDocument/2006/relationships/slideLayout" Target="../slideLayouts/slideLayout985.xml"/><Relationship Id="rId464" Type="http://schemas.openxmlformats.org/officeDocument/2006/relationships/slideLayout" Target="../slideLayouts/slideLayout1027.xml"/><Relationship Id="rId299" Type="http://schemas.openxmlformats.org/officeDocument/2006/relationships/slideLayout" Target="../slideLayouts/slideLayout862.xml"/><Relationship Id="rId63" Type="http://schemas.openxmlformats.org/officeDocument/2006/relationships/slideLayout" Target="../slideLayouts/slideLayout626.xml"/><Relationship Id="rId159" Type="http://schemas.openxmlformats.org/officeDocument/2006/relationships/slideLayout" Target="../slideLayouts/slideLayout722.xml"/><Relationship Id="rId366" Type="http://schemas.openxmlformats.org/officeDocument/2006/relationships/slideLayout" Target="../slideLayouts/slideLayout929.xml"/><Relationship Id="rId226" Type="http://schemas.openxmlformats.org/officeDocument/2006/relationships/slideLayout" Target="../slideLayouts/slideLayout789.xml"/><Relationship Id="rId433" Type="http://schemas.openxmlformats.org/officeDocument/2006/relationships/slideLayout" Target="../slideLayouts/slideLayout996.xml"/><Relationship Id="rId74" Type="http://schemas.openxmlformats.org/officeDocument/2006/relationships/slideLayout" Target="../slideLayouts/slideLayout637.xml"/><Relationship Id="rId377" Type="http://schemas.openxmlformats.org/officeDocument/2006/relationships/slideLayout" Target="../slideLayouts/slideLayout940.xml"/><Relationship Id="rId500" Type="http://schemas.openxmlformats.org/officeDocument/2006/relationships/slideLayout" Target="../slideLayouts/slideLayout1063.xml"/><Relationship Id="rId5" Type="http://schemas.openxmlformats.org/officeDocument/2006/relationships/slideLayout" Target="../slideLayouts/slideLayout568.xml"/><Relationship Id="rId237" Type="http://schemas.openxmlformats.org/officeDocument/2006/relationships/slideLayout" Target="../slideLayouts/slideLayout800.xml"/><Relationship Id="rId444" Type="http://schemas.openxmlformats.org/officeDocument/2006/relationships/slideLayout" Target="../slideLayouts/slideLayout1007.xml"/><Relationship Id="rId290" Type="http://schemas.openxmlformats.org/officeDocument/2006/relationships/slideLayout" Target="../slideLayouts/slideLayout853.xml"/><Relationship Id="rId304" Type="http://schemas.openxmlformats.org/officeDocument/2006/relationships/slideLayout" Target="../slideLayouts/slideLayout867.xml"/><Relationship Id="rId388" Type="http://schemas.openxmlformats.org/officeDocument/2006/relationships/slideLayout" Target="../slideLayouts/slideLayout951.xml"/><Relationship Id="rId511" Type="http://schemas.openxmlformats.org/officeDocument/2006/relationships/slideLayout" Target="../slideLayouts/slideLayout10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E15CCE-5899-F383-A7A2-FF9C840CE8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79E2D4C3-3A4A-E24B-5BC9-7DA74D83AE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1870845-67D6-3110-43EF-68B507C493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latin typeface="Poppins" panose="00000500000000000000" pitchFamily="2" charset="0"/>
              </a:defRPr>
            </a:lvl1pPr>
          </a:lstStyle>
          <a:p>
            <a:fld id="{0F035456-BB8E-4825-B305-21BED00D6F73}" type="datetimeFigureOut">
              <a:rPr lang="en-GB" smtClean="0"/>
              <a:pPr/>
              <a:t>05/12/2025</a:t>
            </a:fld>
            <a:endParaRPr lang="en-GB"/>
          </a:p>
        </p:txBody>
      </p:sp>
      <p:sp>
        <p:nvSpPr>
          <p:cNvPr id="5" name="Footer Placeholder 4">
            <a:extLst>
              <a:ext uri="{FF2B5EF4-FFF2-40B4-BE49-F238E27FC236}">
                <a16:creationId xmlns:a16="http://schemas.microsoft.com/office/drawing/2014/main" id="{1A35ED5B-4C00-2933-CEA5-31A6D9D70B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latin typeface="Poppins" panose="00000500000000000000" pitchFamily="2" charset="0"/>
              </a:defRPr>
            </a:lvl1pPr>
          </a:lstStyle>
          <a:p>
            <a:endParaRPr lang="en-GB"/>
          </a:p>
        </p:txBody>
      </p:sp>
      <p:sp>
        <p:nvSpPr>
          <p:cNvPr id="6" name="Slide Number Placeholder 5">
            <a:extLst>
              <a:ext uri="{FF2B5EF4-FFF2-40B4-BE49-F238E27FC236}">
                <a16:creationId xmlns:a16="http://schemas.microsoft.com/office/drawing/2014/main" id="{D386ED82-1426-6A90-9F85-AE83F8DEAF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latin typeface="Poppins" panose="00000500000000000000" pitchFamily="2" charset="0"/>
              </a:defRPr>
            </a:lvl1pPr>
          </a:lstStyle>
          <a:p>
            <a:fld id="{23C1F30F-E82E-45E5-9DCC-0A3FD5108887}" type="slidenum">
              <a:rPr lang="en-GB" smtClean="0"/>
              <a:pPr/>
              <a:t>‹#›</a:t>
            </a:fld>
            <a:endParaRPr lang="en-GB"/>
          </a:p>
        </p:txBody>
      </p:sp>
    </p:spTree>
    <p:extLst>
      <p:ext uri="{BB962C8B-B14F-4D97-AF65-F5344CB8AC3E}">
        <p14:creationId xmlns:p14="http://schemas.microsoft.com/office/powerpoint/2010/main" val="40094672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229" r:id="rId12"/>
    <p:sldLayoutId id="2147484233" r:id="rId13"/>
  </p:sldLayoutIdLst>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Title Placeholder 26">
            <a:extLst>
              <a:ext uri="{FF2B5EF4-FFF2-40B4-BE49-F238E27FC236}">
                <a16:creationId xmlns:a16="http://schemas.microsoft.com/office/drawing/2014/main" id="{AD949D24-C297-9815-B068-2686966E6D0C}"/>
              </a:ext>
            </a:extLst>
          </p:cNvPr>
          <p:cNvSpPr>
            <a:spLocks noGrp="1"/>
          </p:cNvSpPr>
          <p:nvPr>
            <p:ph type="title"/>
          </p:nvPr>
        </p:nvSpPr>
        <p:spPr>
          <a:xfrm>
            <a:off x="382588" y="403225"/>
            <a:ext cx="11410950" cy="998855"/>
          </a:xfrm>
          <a:prstGeom prst="rect">
            <a:avLst/>
          </a:prstGeom>
        </p:spPr>
        <p:txBody>
          <a:bodyPr vert="horz" lIns="0" tIns="0" rIns="0" bIns="0" rtlCol="0" anchor="t">
            <a:noAutofit/>
          </a:bodyPr>
          <a:lstStyle/>
          <a:p>
            <a:r>
              <a:rPr lang="en-US"/>
              <a:t>Click to edit Master title style</a:t>
            </a:r>
            <a:endParaRPr lang="en-GB"/>
          </a:p>
        </p:txBody>
      </p:sp>
      <p:sp>
        <p:nvSpPr>
          <p:cNvPr id="28" name="Text Placeholder 27">
            <a:extLst>
              <a:ext uri="{FF2B5EF4-FFF2-40B4-BE49-F238E27FC236}">
                <a16:creationId xmlns:a16="http://schemas.microsoft.com/office/drawing/2014/main" id="{3658FE01-45C3-272B-FCDF-81C921D682AA}"/>
              </a:ext>
            </a:extLst>
          </p:cNvPr>
          <p:cNvSpPr>
            <a:spLocks noGrp="1"/>
          </p:cNvSpPr>
          <p:nvPr>
            <p:ph type="body" idx="1"/>
          </p:nvPr>
        </p:nvSpPr>
        <p:spPr>
          <a:xfrm>
            <a:off x="382588" y="1592263"/>
            <a:ext cx="11410950" cy="4681537"/>
          </a:xfrm>
          <a:prstGeom prst="rect">
            <a:avLst/>
          </a:prstGeom>
        </p:spPr>
        <p:txBody>
          <a:bodyPr vert="horz" lIns="0" tIns="36000" rIns="72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2010CD1E-9CA1-4047-EC5C-35A67A12B57B}"/>
              </a:ext>
            </a:extLst>
          </p:cNvPr>
          <p:cNvSpPr>
            <a:spLocks noGrp="1"/>
          </p:cNvSpPr>
          <p:nvPr>
            <p:ph type="dt" sz="half" idx="2"/>
          </p:nvPr>
        </p:nvSpPr>
        <p:spPr>
          <a:xfrm>
            <a:off x="382588" y="6552055"/>
            <a:ext cx="2743200" cy="152470"/>
          </a:xfrm>
          <a:prstGeom prst="rect">
            <a:avLst/>
          </a:prstGeom>
        </p:spPr>
        <p:txBody>
          <a:bodyPr vert="horz" lIns="0" tIns="0" rIns="0" bIns="0" rtlCol="0" anchor="ctr"/>
          <a:lstStyle>
            <a:lvl1pPr algn="l">
              <a:defRPr lang="en-GB" sz="800" smtClean="0">
                <a:solidFill>
                  <a:schemeClr val="tx1"/>
                </a:solidFill>
                <a:latin typeface="+mn-lt"/>
              </a:defRPr>
            </a:lvl1pPr>
          </a:lstStyle>
          <a:p>
            <a:fld id="{1A196915-F6B1-4741-B364-FFB2F79CE06D}" type="datetime3">
              <a:rPr lang="en-GB" smtClean="0"/>
              <a:t>5 December, 2025</a:t>
            </a:fld>
            <a:endParaRPr lang="en-GB"/>
          </a:p>
        </p:txBody>
      </p:sp>
      <p:sp>
        <p:nvSpPr>
          <p:cNvPr id="30" name="Footer Placeholder 29">
            <a:extLst>
              <a:ext uri="{FF2B5EF4-FFF2-40B4-BE49-F238E27FC236}">
                <a16:creationId xmlns:a16="http://schemas.microsoft.com/office/drawing/2014/main" id="{CCD669EB-2964-23B2-28EB-F3AEE913EF99}"/>
              </a:ext>
            </a:extLst>
          </p:cNvPr>
          <p:cNvSpPr>
            <a:spLocks noGrp="1"/>
          </p:cNvSpPr>
          <p:nvPr>
            <p:ph type="ftr" sz="quarter" idx="3"/>
          </p:nvPr>
        </p:nvSpPr>
        <p:spPr>
          <a:xfrm>
            <a:off x="3276600" y="6552055"/>
            <a:ext cx="8204962" cy="152470"/>
          </a:xfrm>
          <a:prstGeom prst="rect">
            <a:avLst/>
          </a:prstGeom>
        </p:spPr>
        <p:txBody>
          <a:bodyPr vert="horz" lIns="0" tIns="0" rIns="0" bIns="0" rtlCol="0" anchor="ctr"/>
          <a:lstStyle>
            <a:lvl1pPr algn="r">
              <a:defRPr sz="800">
                <a:solidFill>
                  <a:schemeClr val="tx1"/>
                </a:solidFill>
                <a:latin typeface="+mn-lt"/>
              </a:defRPr>
            </a:lvl1pPr>
          </a:lstStyle>
          <a:p>
            <a:endParaRPr lang="en-GB"/>
          </a:p>
        </p:txBody>
      </p:sp>
      <p:sp>
        <p:nvSpPr>
          <p:cNvPr id="31" name="Slide Number Placeholder 30">
            <a:extLst>
              <a:ext uri="{FF2B5EF4-FFF2-40B4-BE49-F238E27FC236}">
                <a16:creationId xmlns:a16="http://schemas.microsoft.com/office/drawing/2014/main" id="{12137EF9-38B5-7540-57C3-9E00D706F122}"/>
              </a:ext>
            </a:extLst>
          </p:cNvPr>
          <p:cNvSpPr>
            <a:spLocks noGrp="1"/>
          </p:cNvSpPr>
          <p:nvPr>
            <p:ph type="sldNum" sz="quarter" idx="4"/>
          </p:nvPr>
        </p:nvSpPr>
        <p:spPr>
          <a:xfrm>
            <a:off x="11481564" y="6552055"/>
            <a:ext cx="311973" cy="152470"/>
          </a:xfrm>
          <a:prstGeom prst="rect">
            <a:avLst/>
          </a:prstGeom>
        </p:spPr>
        <p:txBody>
          <a:bodyPr vert="horz" lIns="0" tIns="0" rIns="0" bIns="0" rtlCol="0" anchor="ctr"/>
          <a:lstStyle>
            <a:lvl1pPr algn="r">
              <a:defRPr sz="800">
                <a:solidFill>
                  <a:schemeClr val="tx1"/>
                </a:solidFill>
                <a:latin typeface="+mn-lt"/>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91698509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 id="2147483703" r:id="rId32"/>
    <p:sldLayoutId id="2147483704" r:id="rId33"/>
    <p:sldLayoutId id="2147483705" r:id="rId34"/>
    <p:sldLayoutId id="2147483706" r:id="rId35"/>
    <p:sldLayoutId id="2147483707" r:id="rId36"/>
    <p:sldLayoutId id="2147483708" r:id="rId37"/>
    <p:sldLayoutId id="2147483709" r:id="rId38"/>
    <p:sldLayoutId id="2147483710" r:id="rId39"/>
    <p:sldLayoutId id="2147483711" r:id="rId40"/>
    <p:sldLayoutId id="2147483712" r:id="rId41"/>
    <p:sldLayoutId id="2147483713" r:id="rId42"/>
    <p:sldLayoutId id="2147483714" r:id="rId43"/>
    <p:sldLayoutId id="2147483715" r:id="rId44"/>
    <p:sldLayoutId id="2147483716" r:id="rId45"/>
    <p:sldLayoutId id="2147483717" r:id="rId46"/>
    <p:sldLayoutId id="2147483718" r:id="rId47"/>
    <p:sldLayoutId id="2147483719" r:id="rId48"/>
    <p:sldLayoutId id="2147483720" r:id="rId49"/>
    <p:sldLayoutId id="2147483721" r:id="rId50"/>
    <p:sldLayoutId id="2147483722" r:id="rId51"/>
    <p:sldLayoutId id="2147483723" r:id="rId52"/>
    <p:sldLayoutId id="2147483724" r:id="rId53"/>
    <p:sldLayoutId id="2147483725" r:id="rId54"/>
    <p:sldLayoutId id="2147483726" r:id="rId55"/>
    <p:sldLayoutId id="2147483727" r:id="rId56"/>
    <p:sldLayoutId id="2147483728" r:id="rId57"/>
    <p:sldLayoutId id="2147483729" r:id="rId58"/>
    <p:sldLayoutId id="2147483730" r:id="rId59"/>
    <p:sldLayoutId id="2147483731" r:id="rId60"/>
    <p:sldLayoutId id="2147483732" r:id="rId61"/>
    <p:sldLayoutId id="2147483733" r:id="rId62"/>
    <p:sldLayoutId id="2147483734" r:id="rId63"/>
    <p:sldLayoutId id="2147483735" r:id="rId64"/>
    <p:sldLayoutId id="2147483736" r:id="rId65"/>
    <p:sldLayoutId id="2147483737" r:id="rId66"/>
    <p:sldLayoutId id="2147483738" r:id="rId67"/>
    <p:sldLayoutId id="2147483739" r:id="rId68"/>
    <p:sldLayoutId id="2147483740" r:id="rId69"/>
    <p:sldLayoutId id="2147483741" r:id="rId70"/>
    <p:sldLayoutId id="2147483742" r:id="rId71"/>
    <p:sldLayoutId id="2147483743" r:id="rId72"/>
    <p:sldLayoutId id="2147483744" r:id="rId73"/>
    <p:sldLayoutId id="2147483745" r:id="rId74"/>
    <p:sldLayoutId id="2147483746" r:id="rId75"/>
    <p:sldLayoutId id="2147483747" r:id="rId76"/>
    <p:sldLayoutId id="2147483748" r:id="rId77"/>
    <p:sldLayoutId id="2147483749" r:id="rId78"/>
    <p:sldLayoutId id="2147483750" r:id="rId79"/>
    <p:sldLayoutId id="2147483751" r:id="rId80"/>
    <p:sldLayoutId id="2147483752" r:id="rId81"/>
    <p:sldLayoutId id="2147483753" r:id="rId82"/>
    <p:sldLayoutId id="2147483754" r:id="rId83"/>
    <p:sldLayoutId id="2147483755" r:id="rId84"/>
    <p:sldLayoutId id="2147483756" r:id="rId85"/>
    <p:sldLayoutId id="2147483757" r:id="rId86"/>
    <p:sldLayoutId id="2147483758" r:id="rId87"/>
    <p:sldLayoutId id="2147483759" r:id="rId88"/>
    <p:sldLayoutId id="2147483760" r:id="rId89"/>
    <p:sldLayoutId id="2147483761" r:id="rId90"/>
    <p:sldLayoutId id="2147483762" r:id="rId91"/>
    <p:sldLayoutId id="2147483763" r:id="rId92"/>
    <p:sldLayoutId id="2147483764" r:id="rId93"/>
    <p:sldLayoutId id="2147483765" r:id="rId94"/>
    <p:sldLayoutId id="2147483766" r:id="rId95"/>
    <p:sldLayoutId id="2147483767" r:id="rId96"/>
    <p:sldLayoutId id="2147483768" r:id="rId97"/>
    <p:sldLayoutId id="2147483769" r:id="rId98"/>
    <p:sldLayoutId id="2147483770" r:id="rId99"/>
    <p:sldLayoutId id="2147483771" r:id="rId100"/>
    <p:sldLayoutId id="2147483772" r:id="rId101"/>
    <p:sldLayoutId id="2147483773" r:id="rId102"/>
    <p:sldLayoutId id="2147483774" r:id="rId103"/>
    <p:sldLayoutId id="2147483775" r:id="rId104"/>
    <p:sldLayoutId id="2147483776" r:id="rId105"/>
    <p:sldLayoutId id="2147483777" r:id="rId106"/>
    <p:sldLayoutId id="2147483778" r:id="rId107"/>
    <p:sldLayoutId id="2147483779" r:id="rId108"/>
    <p:sldLayoutId id="2147483780" r:id="rId109"/>
    <p:sldLayoutId id="2147483781" r:id="rId110"/>
    <p:sldLayoutId id="2147483782" r:id="rId111"/>
    <p:sldLayoutId id="2147483783" r:id="rId112"/>
    <p:sldLayoutId id="2147483784" r:id="rId113"/>
    <p:sldLayoutId id="2147483785" r:id="rId114"/>
    <p:sldLayoutId id="2147483786" r:id="rId115"/>
    <p:sldLayoutId id="2147483787" r:id="rId116"/>
    <p:sldLayoutId id="2147483788" r:id="rId117"/>
    <p:sldLayoutId id="2147483789" r:id="rId118"/>
    <p:sldLayoutId id="2147483790" r:id="rId119"/>
    <p:sldLayoutId id="2147483791" r:id="rId120"/>
    <p:sldLayoutId id="2147483792" r:id="rId121"/>
    <p:sldLayoutId id="2147483793" r:id="rId122"/>
    <p:sldLayoutId id="2147483794" r:id="rId123"/>
    <p:sldLayoutId id="2147483795" r:id="rId124"/>
    <p:sldLayoutId id="2147483796" r:id="rId125"/>
    <p:sldLayoutId id="2147483797" r:id="rId126"/>
    <p:sldLayoutId id="2147483798" r:id="rId127"/>
    <p:sldLayoutId id="2147483799" r:id="rId128"/>
    <p:sldLayoutId id="2147483800" r:id="rId129"/>
    <p:sldLayoutId id="2147483801" r:id="rId130"/>
    <p:sldLayoutId id="2147483802" r:id="rId131"/>
    <p:sldLayoutId id="2147483803" r:id="rId132"/>
    <p:sldLayoutId id="2147483804" r:id="rId133"/>
    <p:sldLayoutId id="2147483805" r:id="rId134"/>
    <p:sldLayoutId id="2147483806" r:id="rId135"/>
    <p:sldLayoutId id="2147483807" r:id="rId136"/>
    <p:sldLayoutId id="2147483808" r:id="rId137"/>
    <p:sldLayoutId id="2147483809" r:id="rId138"/>
    <p:sldLayoutId id="2147483810" r:id="rId139"/>
    <p:sldLayoutId id="2147483811" r:id="rId140"/>
    <p:sldLayoutId id="2147483812" r:id="rId141"/>
    <p:sldLayoutId id="2147483813" r:id="rId142"/>
    <p:sldLayoutId id="2147483814" r:id="rId143"/>
    <p:sldLayoutId id="2147483815" r:id="rId144"/>
    <p:sldLayoutId id="2147483816" r:id="rId145"/>
    <p:sldLayoutId id="2147483817" r:id="rId146"/>
    <p:sldLayoutId id="2147483818" r:id="rId147"/>
    <p:sldLayoutId id="2147483819" r:id="rId148"/>
    <p:sldLayoutId id="2147483820" r:id="rId149"/>
    <p:sldLayoutId id="2147483821" r:id="rId150"/>
    <p:sldLayoutId id="2147483822" r:id="rId151"/>
    <p:sldLayoutId id="2147483823" r:id="rId152"/>
    <p:sldLayoutId id="2147483824" r:id="rId153"/>
    <p:sldLayoutId id="2147483825" r:id="rId154"/>
    <p:sldLayoutId id="2147483826" r:id="rId155"/>
    <p:sldLayoutId id="2147483827" r:id="rId156"/>
    <p:sldLayoutId id="2147483828" r:id="rId157"/>
    <p:sldLayoutId id="2147483829" r:id="rId158"/>
    <p:sldLayoutId id="2147483830" r:id="rId159"/>
    <p:sldLayoutId id="2147483831" r:id="rId160"/>
    <p:sldLayoutId id="2147483832" r:id="rId161"/>
    <p:sldLayoutId id="2147483833" r:id="rId162"/>
    <p:sldLayoutId id="2147483834" r:id="rId163"/>
    <p:sldLayoutId id="2147483835" r:id="rId164"/>
    <p:sldLayoutId id="2147483836" r:id="rId165"/>
    <p:sldLayoutId id="2147483837" r:id="rId166"/>
    <p:sldLayoutId id="2147483838" r:id="rId167"/>
    <p:sldLayoutId id="2147483839" r:id="rId168"/>
    <p:sldLayoutId id="2147483840" r:id="rId169"/>
    <p:sldLayoutId id="2147483841" r:id="rId170"/>
    <p:sldLayoutId id="2147483842" r:id="rId171"/>
    <p:sldLayoutId id="2147483843" r:id="rId172"/>
    <p:sldLayoutId id="2147483844" r:id="rId173"/>
    <p:sldLayoutId id="2147483845" r:id="rId174"/>
    <p:sldLayoutId id="2147483846" r:id="rId175"/>
    <p:sldLayoutId id="2147483847" r:id="rId176"/>
    <p:sldLayoutId id="2147483848" r:id="rId177"/>
    <p:sldLayoutId id="2147483849" r:id="rId178"/>
    <p:sldLayoutId id="2147483850" r:id="rId179"/>
    <p:sldLayoutId id="2147483851" r:id="rId180"/>
    <p:sldLayoutId id="2147483852" r:id="rId181"/>
    <p:sldLayoutId id="2147483853" r:id="rId182"/>
    <p:sldLayoutId id="2147483854" r:id="rId183"/>
    <p:sldLayoutId id="2147483855" r:id="rId184"/>
    <p:sldLayoutId id="2147483856" r:id="rId185"/>
    <p:sldLayoutId id="2147483857" r:id="rId186"/>
    <p:sldLayoutId id="2147483858" r:id="rId187"/>
    <p:sldLayoutId id="2147483859" r:id="rId188"/>
    <p:sldLayoutId id="2147483860" r:id="rId189"/>
    <p:sldLayoutId id="2147483861" r:id="rId190"/>
    <p:sldLayoutId id="2147483862" r:id="rId191"/>
    <p:sldLayoutId id="2147483863" r:id="rId192"/>
    <p:sldLayoutId id="2147483864" r:id="rId193"/>
    <p:sldLayoutId id="2147483865" r:id="rId194"/>
    <p:sldLayoutId id="2147483866" r:id="rId195"/>
    <p:sldLayoutId id="2147483867" r:id="rId196"/>
    <p:sldLayoutId id="2147483868" r:id="rId197"/>
    <p:sldLayoutId id="2147483869" r:id="rId198"/>
    <p:sldLayoutId id="2147483870" r:id="rId199"/>
    <p:sldLayoutId id="2147483871" r:id="rId200"/>
    <p:sldLayoutId id="2147483872" r:id="rId201"/>
    <p:sldLayoutId id="2147483873" r:id="rId202"/>
    <p:sldLayoutId id="2147483874" r:id="rId203"/>
    <p:sldLayoutId id="2147483875" r:id="rId204"/>
    <p:sldLayoutId id="2147483876" r:id="rId205"/>
    <p:sldLayoutId id="2147483877" r:id="rId206"/>
    <p:sldLayoutId id="2147483878" r:id="rId207"/>
    <p:sldLayoutId id="2147483879" r:id="rId208"/>
    <p:sldLayoutId id="2147483880" r:id="rId209"/>
    <p:sldLayoutId id="2147483881" r:id="rId210"/>
    <p:sldLayoutId id="2147483882" r:id="rId211"/>
    <p:sldLayoutId id="2147483883" r:id="rId212"/>
    <p:sldLayoutId id="2147483884" r:id="rId213"/>
    <p:sldLayoutId id="2147483885" r:id="rId214"/>
    <p:sldLayoutId id="2147483886" r:id="rId215"/>
    <p:sldLayoutId id="2147483887" r:id="rId216"/>
    <p:sldLayoutId id="2147483888" r:id="rId217"/>
    <p:sldLayoutId id="2147483889" r:id="rId218"/>
    <p:sldLayoutId id="2147483890" r:id="rId219"/>
    <p:sldLayoutId id="2147483891" r:id="rId220"/>
    <p:sldLayoutId id="2147483892" r:id="rId221"/>
    <p:sldLayoutId id="2147483893" r:id="rId222"/>
    <p:sldLayoutId id="2147483894" r:id="rId223"/>
    <p:sldLayoutId id="2147483895" r:id="rId224"/>
    <p:sldLayoutId id="2147483896" r:id="rId225"/>
    <p:sldLayoutId id="2147483897" r:id="rId226"/>
    <p:sldLayoutId id="2147483898" r:id="rId227"/>
    <p:sldLayoutId id="2147483899" r:id="rId228"/>
    <p:sldLayoutId id="2147483900" r:id="rId229"/>
    <p:sldLayoutId id="2147483901" r:id="rId230"/>
    <p:sldLayoutId id="2147483902" r:id="rId231"/>
    <p:sldLayoutId id="2147483903" r:id="rId232"/>
    <p:sldLayoutId id="2147483904" r:id="rId233"/>
    <p:sldLayoutId id="2147483905" r:id="rId234"/>
    <p:sldLayoutId id="2147483906" r:id="rId235"/>
    <p:sldLayoutId id="2147483907" r:id="rId236"/>
    <p:sldLayoutId id="2147483908" r:id="rId237"/>
    <p:sldLayoutId id="2147483909" r:id="rId238"/>
    <p:sldLayoutId id="2147483910" r:id="rId239"/>
    <p:sldLayoutId id="2147483911" r:id="rId240"/>
    <p:sldLayoutId id="2147483912" r:id="rId241"/>
    <p:sldLayoutId id="2147483913" r:id="rId242"/>
    <p:sldLayoutId id="2147483914" r:id="rId243"/>
    <p:sldLayoutId id="2147483915" r:id="rId244"/>
    <p:sldLayoutId id="2147483916" r:id="rId245"/>
    <p:sldLayoutId id="2147483917" r:id="rId246"/>
    <p:sldLayoutId id="2147483918" r:id="rId247"/>
    <p:sldLayoutId id="2147483919" r:id="rId248"/>
    <p:sldLayoutId id="2147483920" r:id="rId249"/>
    <p:sldLayoutId id="2147483921" r:id="rId250"/>
    <p:sldLayoutId id="2147483922" r:id="rId251"/>
    <p:sldLayoutId id="2147483923" r:id="rId252"/>
    <p:sldLayoutId id="2147483924" r:id="rId253"/>
    <p:sldLayoutId id="2147483925" r:id="rId254"/>
    <p:sldLayoutId id="2147483926" r:id="rId255"/>
    <p:sldLayoutId id="2147483927" r:id="rId256"/>
    <p:sldLayoutId id="2147483928" r:id="rId257"/>
    <p:sldLayoutId id="2147483929" r:id="rId258"/>
    <p:sldLayoutId id="2147483930" r:id="rId259"/>
    <p:sldLayoutId id="2147483931" r:id="rId260"/>
    <p:sldLayoutId id="2147483932" r:id="rId261"/>
    <p:sldLayoutId id="2147483933" r:id="rId262"/>
    <p:sldLayoutId id="2147483934" r:id="rId263"/>
    <p:sldLayoutId id="2147483935" r:id="rId264"/>
    <p:sldLayoutId id="2147483936" r:id="rId265"/>
    <p:sldLayoutId id="2147483937" r:id="rId266"/>
    <p:sldLayoutId id="2147483938" r:id="rId267"/>
    <p:sldLayoutId id="2147483939" r:id="rId268"/>
    <p:sldLayoutId id="2147483940" r:id="rId269"/>
    <p:sldLayoutId id="2147483941" r:id="rId270"/>
    <p:sldLayoutId id="2147483942" r:id="rId271"/>
    <p:sldLayoutId id="2147483943" r:id="rId272"/>
    <p:sldLayoutId id="2147483944" r:id="rId273"/>
    <p:sldLayoutId id="2147483945" r:id="rId274"/>
    <p:sldLayoutId id="2147483946" r:id="rId275"/>
    <p:sldLayoutId id="2147483947" r:id="rId276"/>
    <p:sldLayoutId id="2147483948" r:id="rId277"/>
    <p:sldLayoutId id="2147483949" r:id="rId278"/>
    <p:sldLayoutId id="2147483950" r:id="rId279"/>
    <p:sldLayoutId id="2147483951" r:id="rId280"/>
    <p:sldLayoutId id="2147483952" r:id="rId281"/>
    <p:sldLayoutId id="2147483953" r:id="rId282"/>
    <p:sldLayoutId id="2147483954" r:id="rId283"/>
    <p:sldLayoutId id="2147483955" r:id="rId284"/>
    <p:sldLayoutId id="2147483956" r:id="rId285"/>
    <p:sldLayoutId id="2147483957" r:id="rId286"/>
    <p:sldLayoutId id="2147483958" r:id="rId287"/>
    <p:sldLayoutId id="2147483959" r:id="rId288"/>
    <p:sldLayoutId id="2147483960" r:id="rId289"/>
    <p:sldLayoutId id="2147483961" r:id="rId290"/>
    <p:sldLayoutId id="2147483962" r:id="rId291"/>
    <p:sldLayoutId id="2147483963" r:id="rId292"/>
    <p:sldLayoutId id="2147483964" r:id="rId293"/>
    <p:sldLayoutId id="2147483965" r:id="rId294"/>
    <p:sldLayoutId id="2147483966" r:id="rId295"/>
    <p:sldLayoutId id="2147483967" r:id="rId296"/>
    <p:sldLayoutId id="2147483968" r:id="rId297"/>
    <p:sldLayoutId id="2147483969" r:id="rId298"/>
    <p:sldLayoutId id="2147483970" r:id="rId299"/>
    <p:sldLayoutId id="2147483971" r:id="rId300"/>
    <p:sldLayoutId id="2147483972" r:id="rId301"/>
    <p:sldLayoutId id="2147483973" r:id="rId302"/>
    <p:sldLayoutId id="2147483974" r:id="rId303"/>
    <p:sldLayoutId id="2147483975" r:id="rId304"/>
    <p:sldLayoutId id="2147483976" r:id="rId305"/>
    <p:sldLayoutId id="2147483977" r:id="rId306"/>
    <p:sldLayoutId id="2147483978" r:id="rId307"/>
    <p:sldLayoutId id="2147483979" r:id="rId308"/>
    <p:sldLayoutId id="2147483980" r:id="rId309"/>
    <p:sldLayoutId id="2147483981" r:id="rId310"/>
    <p:sldLayoutId id="2147483982" r:id="rId311"/>
    <p:sldLayoutId id="2147483983" r:id="rId312"/>
    <p:sldLayoutId id="2147483984" r:id="rId313"/>
    <p:sldLayoutId id="2147483985" r:id="rId314"/>
    <p:sldLayoutId id="2147483986" r:id="rId315"/>
    <p:sldLayoutId id="2147483987" r:id="rId316"/>
    <p:sldLayoutId id="2147483988" r:id="rId317"/>
    <p:sldLayoutId id="2147483989" r:id="rId318"/>
    <p:sldLayoutId id="2147483990" r:id="rId319"/>
    <p:sldLayoutId id="2147483991" r:id="rId320"/>
    <p:sldLayoutId id="2147483992" r:id="rId321"/>
    <p:sldLayoutId id="2147483993" r:id="rId322"/>
    <p:sldLayoutId id="2147483994" r:id="rId323"/>
    <p:sldLayoutId id="2147483995" r:id="rId324"/>
    <p:sldLayoutId id="2147483996" r:id="rId325"/>
    <p:sldLayoutId id="2147483997" r:id="rId326"/>
    <p:sldLayoutId id="2147483998" r:id="rId327"/>
    <p:sldLayoutId id="2147483999" r:id="rId328"/>
    <p:sldLayoutId id="2147484000" r:id="rId329"/>
    <p:sldLayoutId id="2147484001" r:id="rId330"/>
    <p:sldLayoutId id="2147484002" r:id="rId331"/>
    <p:sldLayoutId id="2147484003" r:id="rId332"/>
    <p:sldLayoutId id="2147484004" r:id="rId333"/>
    <p:sldLayoutId id="2147484005" r:id="rId334"/>
    <p:sldLayoutId id="2147484006" r:id="rId335"/>
    <p:sldLayoutId id="2147484007" r:id="rId336"/>
    <p:sldLayoutId id="2147484008" r:id="rId337"/>
    <p:sldLayoutId id="2147484009" r:id="rId338"/>
    <p:sldLayoutId id="2147484010" r:id="rId339"/>
    <p:sldLayoutId id="2147484011" r:id="rId340"/>
    <p:sldLayoutId id="2147484012" r:id="rId341"/>
    <p:sldLayoutId id="2147484013" r:id="rId342"/>
    <p:sldLayoutId id="2147484014" r:id="rId343"/>
    <p:sldLayoutId id="2147484015" r:id="rId344"/>
    <p:sldLayoutId id="2147484016" r:id="rId345"/>
    <p:sldLayoutId id="2147484017" r:id="rId346"/>
    <p:sldLayoutId id="2147484018" r:id="rId347"/>
    <p:sldLayoutId id="2147484019" r:id="rId348"/>
    <p:sldLayoutId id="2147484020" r:id="rId349"/>
    <p:sldLayoutId id="2147484021" r:id="rId350"/>
    <p:sldLayoutId id="2147484022" r:id="rId351"/>
    <p:sldLayoutId id="2147484023" r:id="rId352"/>
    <p:sldLayoutId id="2147484024" r:id="rId353"/>
    <p:sldLayoutId id="2147484025" r:id="rId354"/>
    <p:sldLayoutId id="2147484026" r:id="rId355"/>
    <p:sldLayoutId id="2147484027" r:id="rId356"/>
    <p:sldLayoutId id="2147484028" r:id="rId357"/>
    <p:sldLayoutId id="2147484029" r:id="rId358"/>
    <p:sldLayoutId id="2147484030" r:id="rId359"/>
    <p:sldLayoutId id="2147484031" r:id="rId360"/>
    <p:sldLayoutId id="2147484032" r:id="rId361"/>
    <p:sldLayoutId id="2147484033" r:id="rId362"/>
    <p:sldLayoutId id="2147484034" r:id="rId363"/>
    <p:sldLayoutId id="2147484035" r:id="rId364"/>
    <p:sldLayoutId id="2147484036" r:id="rId365"/>
    <p:sldLayoutId id="2147484037" r:id="rId366"/>
    <p:sldLayoutId id="2147484038" r:id="rId367"/>
    <p:sldLayoutId id="2147484039" r:id="rId368"/>
    <p:sldLayoutId id="2147484040" r:id="rId369"/>
    <p:sldLayoutId id="2147484041" r:id="rId370"/>
    <p:sldLayoutId id="2147484042" r:id="rId371"/>
    <p:sldLayoutId id="2147484043" r:id="rId372"/>
    <p:sldLayoutId id="2147484044" r:id="rId373"/>
    <p:sldLayoutId id="2147484045" r:id="rId374"/>
    <p:sldLayoutId id="2147484046" r:id="rId375"/>
    <p:sldLayoutId id="2147484047" r:id="rId376"/>
    <p:sldLayoutId id="2147484048" r:id="rId377"/>
    <p:sldLayoutId id="2147484049" r:id="rId378"/>
    <p:sldLayoutId id="2147484050" r:id="rId379"/>
    <p:sldLayoutId id="2147484051" r:id="rId380"/>
    <p:sldLayoutId id="2147484052" r:id="rId381"/>
    <p:sldLayoutId id="2147484053" r:id="rId382"/>
    <p:sldLayoutId id="2147484054" r:id="rId383"/>
    <p:sldLayoutId id="2147484055" r:id="rId384"/>
    <p:sldLayoutId id="2147484056" r:id="rId385"/>
    <p:sldLayoutId id="2147484057" r:id="rId386"/>
    <p:sldLayoutId id="2147484058" r:id="rId387"/>
    <p:sldLayoutId id="2147484059" r:id="rId388"/>
    <p:sldLayoutId id="2147484060" r:id="rId389"/>
    <p:sldLayoutId id="2147484061" r:id="rId390"/>
    <p:sldLayoutId id="2147484062" r:id="rId391"/>
    <p:sldLayoutId id="2147484063" r:id="rId392"/>
    <p:sldLayoutId id="2147484064" r:id="rId393"/>
    <p:sldLayoutId id="2147484065" r:id="rId394"/>
    <p:sldLayoutId id="2147484066" r:id="rId395"/>
    <p:sldLayoutId id="2147484067" r:id="rId396"/>
    <p:sldLayoutId id="2147484068" r:id="rId397"/>
    <p:sldLayoutId id="2147484069" r:id="rId398"/>
    <p:sldLayoutId id="2147484070" r:id="rId399"/>
    <p:sldLayoutId id="2147484071" r:id="rId400"/>
    <p:sldLayoutId id="2147484072" r:id="rId401"/>
    <p:sldLayoutId id="2147484073" r:id="rId402"/>
    <p:sldLayoutId id="2147484074" r:id="rId403"/>
    <p:sldLayoutId id="2147484075" r:id="rId404"/>
    <p:sldLayoutId id="2147484076" r:id="rId405"/>
    <p:sldLayoutId id="2147484077" r:id="rId406"/>
    <p:sldLayoutId id="2147484078" r:id="rId407"/>
    <p:sldLayoutId id="2147484079" r:id="rId408"/>
    <p:sldLayoutId id="2147484080" r:id="rId409"/>
    <p:sldLayoutId id="2147484081" r:id="rId410"/>
    <p:sldLayoutId id="2147484082" r:id="rId411"/>
    <p:sldLayoutId id="2147484083" r:id="rId412"/>
    <p:sldLayoutId id="2147484084" r:id="rId413"/>
    <p:sldLayoutId id="2147484085" r:id="rId414"/>
    <p:sldLayoutId id="2147484086" r:id="rId415"/>
    <p:sldLayoutId id="2147484087" r:id="rId416"/>
    <p:sldLayoutId id="2147484088" r:id="rId417"/>
    <p:sldLayoutId id="2147484089" r:id="rId418"/>
    <p:sldLayoutId id="2147484090" r:id="rId419"/>
    <p:sldLayoutId id="2147484091" r:id="rId420"/>
    <p:sldLayoutId id="2147484092" r:id="rId421"/>
    <p:sldLayoutId id="2147484093" r:id="rId422"/>
    <p:sldLayoutId id="2147484094" r:id="rId423"/>
    <p:sldLayoutId id="2147484095" r:id="rId424"/>
    <p:sldLayoutId id="2147484096" r:id="rId425"/>
    <p:sldLayoutId id="2147484097" r:id="rId426"/>
    <p:sldLayoutId id="2147484098" r:id="rId427"/>
    <p:sldLayoutId id="2147484099" r:id="rId428"/>
    <p:sldLayoutId id="2147484100" r:id="rId429"/>
    <p:sldLayoutId id="2147484101" r:id="rId430"/>
    <p:sldLayoutId id="2147484102" r:id="rId431"/>
    <p:sldLayoutId id="2147484103" r:id="rId432"/>
    <p:sldLayoutId id="2147484104" r:id="rId433"/>
    <p:sldLayoutId id="2147484105" r:id="rId434"/>
    <p:sldLayoutId id="2147484106" r:id="rId435"/>
    <p:sldLayoutId id="2147484107" r:id="rId436"/>
    <p:sldLayoutId id="2147484108" r:id="rId437"/>
    <p:sldLayoutId id="2147484109" r:id="rId438"/>
    <p:sldLayoutId id="2147484110" r:id="rId439"/>
    <p:sldLayoutId id="2147484111" r:id="rId440"/>
    <p:sldLayoutId id="2147484112" r:id="rId441"/>
    <p:sldLayoutId id="2147484113" r:id="rId442"/>
    <p:sldLayoutId id="2147484114" r:id="rId443"/>
    <p:sldLayoutId id="2147484115" r:id="rId444"/>
    <p:sldLayoutId id="2147484116" r:id="rId445"/>
    <p:sldLayoutId id="2147484117" r:id="rId446"/>
    <p:sldLayoutId id="2147484118" r:id="rId447"/>
    <p:sldLayoutId id="2147484119" r:id="rId448"/>
    <p:sldLayoutId id="2147484120" r:id="rId449"/>
    <p:sldLayoutId id="2147484121" r:id="rId450"/>
    <p:sldLayoutId id="2147484122" r:id="rId451"/>
    <p:sldLayoutId id="2147484123" r:id="rId452"/>
    <p:sldLayoutId id="2147484124" r:id="rId453"/>
    <p:sldLayoutId id="2147484125" r:id="rId454"/>
    <p:sldLayoutId id="2147484126" r:id="rId455"/>
    <p:sldLayoutId id="2147484127" r:id="rId456"/>
    <p:sldLayoutId id="2147484128" r:id="rId457"/>
    <p:sldLayoutId id="2147484129" r:id="rId458"/>
    <p:sldLayoutId id="2147484130" r:id="rId459"/>
    <p:sldLayoutId id="2147484131" r:id="rId460"/>
    <p:sldLayoutId id="2147484132" r:id="rId461"/>
    <p:sldLayoutId id="2147484133" r:id="rId462"/>
    <p:sldLayoutId id="2147484134" r:id="rId463"/>
    <p:sldLayoutId id="2147484135" r:id="rId464"/>
    <p:sldLayoutId id="2147484136" r:id="rId465"/>
    <p:sldLayoutId id="2147484137" r:id="rId466"/>
    <p:sldLayoutId id="2147484138" r:id="rId467"/>
    <p:sldLayoutId id="2147484139" r:id="rId468"/>
    <p:sldLayoutId id="2147484140" r:id="rId469"/>
    <p:sldLayoutId id="2147484141" r:id="rId470"/>
    <p:sldLayoutId id="2147484142" r:id="rId471"/>
    <p:sldLayoutId id="2147484143" r:id="rId472"/>
    <p:sldLayoutId id="2147484144" r:id="rId473"/>
    <p:sldLayoutId id="2147484145" r:id="rId474"/>
    <p:sldLayoutId id="2147484146" r:id="rId475"/>
    <p:sldLayoutId id="2147484147" r:id="rId476"/>
    <p:sldLayoutId id="2147484148" r:id="rId477"/>
    <p:sldLayoutId id="2147484149" r:id="rId478"/>
    <p:sldLayoutId id="2147484150" r:id="rId479"/>
    <p:sldLayoutId id="2147484151" r:id="rId480"/>
    <p:sldLayoutId id="2147484152" r:id="rId481"/>
    <p:sldLayoutId id="2147484153" r:id="rId482"/>
    <p:sldLayoutId id="2147484154" r:id="rId483"/>
    <p:sldLayoutId id="2147484155" r:id="rId484"/>
    <p:sldLayoutId id="2147484156" r:id="rId485"/>
    <p:sldLayoutId id="2147484157" r:id="rId486"/>
    <p:sldLayoutId id="2147484158" r:id="rId487"/>
    <p:sldLayoutId id="2147484159" r:id="rId488"/>
    <p:sldLayoutId id="2147484160" r:id="rId489"/>
    <p:sldLayoutId id="2147484161" r:id="rId490"/>
    <p:sldLayoutId id="2147484162" r:id="rId491"/>
    <p:sldLayoutId id="2147484163" r:id="rId492"/>
    <p:sldLayoutId id="2147484164" r:id="rId493"/>
    <p:sldLayoutId id="2147484165" r:id="rId494"/>
    <p:sldLayoutId id="2147484166" r:id="rId495"/>
    <p:sldLayoutId id="2147484167" r:id="rId496"/>
    <p:sldLayoutId id="2147484168" r:id="rId497"/>
    <p:sldLayoutId id="2147484169" r:id="rId498"/>
    <p:sldLayoutId id="2147484170" r:id="rId499"/>
    <p:sldLayoutId id="2147484171" r:id="rId500"/>
    <p:sldLayoutId id="2147484172" r:id="rId501"/>
    <p:sldLayoutId id="2147484173" r:id="rId502"/>
    <p:sldLayoutId id="2147484174" r:id="rId503"/>
    <p:sldLayoutId id="2147484175" r:id="rId504"/>
    <p:sldLayoutId id="2147484176" r:id="rId505"/>
    <p:sldLayoutId id="2147484177" r:id="rId506"/>
    <p:sldLayoutId id="2147484178" r:id="rId507"/>
    <p:sldLayoutId id="2147484179" r:id="rId508"/>
    <p:sldLayoutId id="2147484180" r:id="rId509"/>
    <p:sldLayoutId id="2147484181" r:id="rId510"/>
    <p:sldLayoutId id="2147484182" r:id="rId511"/>
    <p:sldLayoutId id="2147484183" r:id="rId512"/>
    <p:sldLayoutId id="2147484184" r:id="rId513"/>
    <p:sldLayoutId id="2147484185" r:id="rId514"/>
    <p:sldLayoutId id="2147484186" r:id="rId515"/>
    <p:sldLayoutId id="2147484187" r:id="rId516"/>
    <p:sldLayoutId id="2147484188" r:id="rId517"/>
    <p:sldLayoutId id="2147484189" r:id="rId518"/>
    <p:sldLayoutId id="2147484190" r:id="rId519"/>
    <p:sldLayoutId id="2147484191" r:id="rId520"/>
    <p:sldLayoutId id="2147484192" r:id="rId521"/>
    <p:sldLayoutId id="2147484193" r:id="rId522"/>
    <p:sldLayoutId id="2147484194" r:id="rId523"/>
    <p:sldLayoutId id="2147484195" r:id="rId524"/>
    <p:sldLayoutId id="2147484196" r:id="rId525"/>
    <p:sldLayoutId id="2147484197" r:id="rId526"/>
    <p:sldLayoutId id="2147484198" r:id="rId527"/>
    <p:sldLayoutId id="2147484199" r:id="rId528"/>
    <p:sldLayoutId id="2147484200" r:id="rId529"/>
    <p:sldLayoutId id="2147484201" r:id="rId530"/>
    <p:sldLayoutId id="2147484202" r:id="rId531"/>
    <p:sldLayoutId id="2147484203" r:id="rId532"/>
    <p:sldLayoutId id="2147484204" r:id="rId533"/>
    <p:sldLayoutId id="2147484205" r:id="rId534"/>
    <p:sldLayoutId id="2147484206" r:id="rId535"/>
    <p:sldLayoutId id="2147484207" r:id="rId536"/>
    <p:sldLayoutId id="2147484208" r:id="rId537"/>
    <p:sldLayoutId id="2147484209" r:id="rId538"/>
    <p:sldLayoutId id="2147484210" r:id="rId539"/>
    <p:sldLayoutId id="2147484211" r:id="rId540"/>
    <p:sldLayoutId id="2147484212" r:id="rId5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600" b="1" kern="1200">
          <a:solidFill>
            <a:schemeClr val="tx1"/>
          </a:solidFill>
          <a:latin typeface="GT Ultra Median Lloyds Regular" pitchFamily="50" charset="0"/>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500"/>
        </a:spcBef>
        <a:buFont typeface="Arial" panose="020B0604020202020204" pitchFamily="34" charset="0"/>
        <a:buNone/>
        <a:defRPr sz="1600" kern="1200">
          <a:solidFill>
            <a:schemeClr val="tx1"/>
          </a:solidFill>
          <a:latin typeface="+mn-lt"/>
          <a:ea typeface="+mn-ea"/>
          <a:cs typeface="+mn-cs"/>
        </a:defRPr>
      </a:lvl2pPr>
      <a:lvl3pPr marL="182563" indent="-182563"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541338" indent="-182563"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246">
          <p15:clr>
            <a:srgbClr val="F26B43"/>
          </p15:clr>
        </p15:guide>
        <p15:guide id="18" pos="241">
          <p15:clr>
            <a:srgbClr val="F26B43"/>
          </p15:clr>
        </p15:guide>
        <p15:guide id="19" orient="horz" pos="3952">
          <p15:clr>
            <a:srgbClr val="F26B43"/>
          </p15:clr>
        </p15:guide>
        <p15:guide id="20" pos="7429">
          <p15:clr>
            <a:srgbClr val="F26B43"/>
          </p15:clr>
        </p15:guide>
        <p15:guide id="21" pos="1958">
          <p15:clr>
            <a:srgbClr val="F26B43"/>
          </p15:clr>
        </p15:guide>
        <p15:guide id="22" pos="2064">
          <p15:clr>
            <a:srgbClr val="F26B43"/>
          </p15:clr>
        </p15:guide>
        <p15:guide id="23" pos="3787">
          <p15:clr>
            <a:srgbClr val="F26B43"/>
          </p15:clr>
        </p15:guide>
        <p15:guide id="24" pos="3885">
          <p15:clr>
            <a:srgbClr val="F26B43"/>
          </p15:clr>
        </p15:guide>
        <p15:guide id="25" pos="5611">
          <p15:clr>
            <a:srgbClr val="F26B43"/>
          </p15:clr>
        </p15:guide>
        <p15:guide id="26" pos="5717">
          <p15:clr>
            <a:srgbClr val="F26B43"/>
          </p15:clr>
        </p15:guide>
        <p15:guide id="27" orient="horz" pos="1003">
          <p15:clr>
            <a:srgbClr val="F26B43"/>
          </p15:clr>
        </p15:guide>
        <p15:guide id="28" orient="horz" pos="890">
          <p15:clr>
            <a:srgbClr val="F26B43"/>
          </p15:clr>
        </p15:guide>
        <p15:guide id="29" orient="horz" pos="2364">
          <p15:clr>
            <a:srgbClr val="F26B43"/>
          </p15:clr>
        </p15:guide>
        <p15:guide id="30" orient="horz" pos="2478">
          <p15:clr>
            <a:srgbClr val="F26B43"/>
          </p15:clr>
        </p15:guide>
        <p15:guide id="31" orient="horz" pos="383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37600" y="223200"/>
            <a:ext cx="8900795" cy="585664"/>
          </a:xfrm>
          <a:prstGeom prst="rect">
            <a:avLst/>
          </a:prstGeom>
        </p:spPr>
        <p:txBody>
          <a:bodyPr wrap="square" lIns="36000" tIns="36000" rIns="36000" bIns="36000">
            <a:spAutoFit/>
          </a:bodyPr>
          <a:lstStyle>
            <a:lvl1pPr>
              <a:defRPr sz="4000" b="1" i="0">
                <a:solidFill>
                  <a:schemeClr val="tx1"/>
                </a:solidFill>
                <a:latin typeface="GT Ultra Median Lloyds Black"/>
                <a:cs typeface="GT Ultra Median Lloyds Black"/>
              </a:defRPr>
            </a:lvl1pPr>
          </a:lstStyle>
          <a:p>
            <a:endParaRPr/>
          </a:p>
        </p:txBody>
      </p:sp>
      <p:sp>
        <p:nvSpPr>
          <p:cNvPr id="3" name="Holder 3"/>
          <p:cNvSpPr>
            <a:spLocks noGrp="1"/>
          </p:cNvSpPr>
          <p:nvPr>
            <p:ph type="body" idx="1"/>
          </p:nvPr>
        </p:nvSpPr>
        <p:spPr>
          <a:xfrm>
            <a:off x="304938" y="1918252"/>
            <a:ext cx="1150606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7" name="Holder 3">
            <a:extLst>
              <a:ext uri="{FF2B5EF4-FFF2-40B4-BE49-F238E27FC236}">
                <a16:creationId xmlns:a16="http://schemas.microsoft.com/office/drawing/2014/main" id="{176B92E6-AC0E-AF37-FE61-1F183F1397A1}"/>
              </a:ext>
            </a:extLst>
          </p:cNvPr>
          <p:cNvSpPr>
            <a:spLocks noGrp="1"/>
          </p:cNvSpPr>
          <p:nvPr>
            <p:ph type="ftr" sz="quarter" idx="3"/>
          </p:nvPr>
        </p:nvSpPr>
        <p:spPr>
          <a:xfrm>
            <a:off x="3840480" y="6536323"/>
            <a:ext cx="3901440" cy="169277"/>
          </a:xfrm>
          <a:prstGeom prst="rect">
            <a:avLst/>
          </a:prstGeo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F5A0B362-DAF6-2D0F-0363-28B336F6B355}"/>
              </a:ext>
            </a:extLst>
          </p:cNvPr>
          <p:cNvSpPr>
            <a:spLocks noGrp="1"/>
          </p:cNvSpPr>
          <p:nvPr>
            <p:ph type="dt" sz="half" idx="2"/>
          </p:nvPr>
        </p:nvSpPr>
        <p:spPr>
          <a:xfrm>
            <a:off x="304800" y="6536323"/>
            <a:ext cx="2804160" cy="169277"/>
          </a:xfrm>
          <a:prstGeom prst="rect">
            <a:avLst/>
          </a:prstGeo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5/2025</a:t>
            </a:fld>
            <a:endParaRPr lang="en-US"/>
          </a:p>
        </p:txBody>
      </p:sp>
      <p:sp>
        <p:nvSpPr>
          <p:cNvPr id="9" name="Holder 5">
            <a:extLst>
              <a:ext uri="{FF2B5EF4-FFF2-40B4-BE49-F238E27FC236}">
                <a16:creationId xmlns:a16="http://schemas.microsoft.com/office/drawing/2014/main" id="{3105A0D6-6F8C-32CB-DDCB-DF07A7377B98}"/>
              </a:ext>
            </a:extLst>
          </p:cNvPr>
          <p:cNvSpPr>
            <a:spLocks noGrp="1"/>
          </p:cNvSpPr>
          <p:nvPr>
            <p:ph type="sldNum" sz="quarter" idx="4"/>
          </p:nvPr>
        </p:nvSpPr>
        <p:spPr>
          <a:xfrm>
            <a:off x="11600034" y="6596888"/>
            <a:ext cx="407816" cy="162052"/>
          </a:xfrm>
          <a:prstGeom prst="rect">
            <a:avLst/>
          </a:prstGeom>
        </p:spPr>
        <p:txBody>
          <a:bodyPr lIns="0" tIns="0" rIns="0" bIns="0"/>
          <a:lstStyle>
            <a:lvl1pPr>
              <a:defRPr sz="11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Tree>
    <p:extLst>
      <p:ext uri="{BB962C8B-B14F-4D97-AF65-F5344CB8AC3E}">
        <p14:creationId xmlns:p14="http://schemas.microsoft.com/office/powerpoint/2010/main" val="4057175930"/>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Lst>
  <p:txStyles>
    <p:titleStyle>
      <a:lvl1pPr>
        <a:lnSpc>
          <a:spcPts val="4000"/>
        </a:lnSpc>
        <a:defRPr>
          <a:latin typeface="+mj-lt"/>
          <a:ea typeface="+mj-ea"/>
          <a:cs typeface="+mj-cs"/>
        </a:defRPr>
      </a:lvl1pPr>
    </p:titleStyle>
    <p:bodyStyle>
      <a:lvl1pPr marL="0">
        <a:defRPr>
          <a:latin typeface="Arial" panose="020B0604020202020204" pitchFamily="34"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81">
          <p15:clr>
            <a:srgbClr val="F26B43"/>
          </p15:clr>
        </p15:guide>
        <p15:guide id="4" pos="1942">
          <p15:clr>
            <a:srgbClr val="F26B43"/>
          </p15:clr>
        </p15:guide>
        <p15:guide id="5" pos="2033">
          <p15:clr>
            <a:srgbClr val="F26B43"/>
          </p15:clr>
        </p15:guide>
        <p15:guide id="6" pos="3794">
          <p15:clr>
            <a:srgbClr val="F26B43"/>
          </p15:clr>
        </p15:guide>
        <p15:guide id="7" pos="3885">
          <p15:clr>
            <a:srgbClr val="F26B43"/>
          </p15:clr>
        </p15:guide>
        <p15:guide id="8" pos="5646">
          <p15:clr>
            <a:srgbClr val="F26B43"/>
          </p15:clr>
        </p15:guide>
        <p15:guide id="9" pos="5737">
          <p15:clr>
            <a:srgbClr val="F26B43"/>
          </p15:clr>
        </p15:guide>
        <p15:guide id="10" pos="7498">
          <p15:clr>
            <a:srgbClr val="F26B43"/>
          </p15:clr>
        </p15:guide>
        <p15:guide id="11" orient="horz">
          <p15:clr>
            <a:srgbClr val="F26B43"/>
          </p15:clr>
        </p15:guide>
        <p15:guide id="12" orient="horz" pos="4320">
          <p15:clr>
            <a:srgbClr val="F26B43"/>
          </p15:clr>
        </p15:guide>
        <p15:guide id="13" orient="horz" pos="181">
          <p15:clr>
            <a:srgbClr val="F26B43"/>
          </p15:clr>
        </p15:guide>
        <p15:guide id="14" orient="horz" pos="2114">
          <p15:clr>
            <a:srgbClr val="F26B43"/>
          </p15:clr>
        </p15:guide>
        <p15:guide id="15" orient="horz" pos="2205">
          <p15:clr>
            <a:srgbClr val="F26B43"/>
          </p15:clr>
        </p15:guide>
        <p15:guide id="16" orient="horz" pos="41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Title Placeholder 26">
            <a:extLst>
              <a:ext uri="{FF2B5EF4-FFF2-40B4-BE49-F238E27FC236}">
                <a16:creationId xmlns:a16="http://schemas.microsoft.com/office/drawing/2014/main" id="{AD949D24-C297-9815-B068-2686966E6D0C}"/>
              </a:ext>
            </a:extLst>
          </p:cNvPr>
          <p:cNvSpPr>
            <a:spLocks noGrp="1"/>
          </p:cNvSpPr>
          <p:nvPr>
            <p:ph type="title"/>
          </p:nvPr>
        </p:nvSpPr>
        <p:spPr>
          <a:xfrm>
            <a:off x="382588" y="403225"/>
            <a:ext cx="11410950" cy="998855"/>
          </a:xfrm>
          <a:prstGeom prst="rect">
            <a:avLst/>
          </a:prstGeom>
        </p:spPr>
        <p:txBody>
          <a:bodyPr vert="horz" lIns="0" tIns="0" rIns="0" bIns="0" rtlCol="0" anchor="t">
            <a:noAutofit/>
          </a:bodyPr>
          <a:lstStyle/>
          <a:p>
            <a:r>
              <a:rPr lang="en-US"/>
              <a:t>Click to edit Master title style</a:t>
            </a:r>
            <a:endParaRPr lang="en-GB"/>
          </a:p>
        </p:txBody>
      </p:sp>
      <p:sp>
        <p:nvSpPr>
          <p:cNvPr id="28" name="Text Placeholder 27">
            <a:extLst>
              <a:ext uri="{FF2B5EF4-FFF2-40B4-BE49-F238E27FC236}">
                <a16:creationId xmlns:a16="http://schemas.microsoft.com/office/drawing/2014/main" id="{3658FE01-45C3-272B-FCDF-81C921D682AA}"/>
              </a:ext>
            </a:extLst>
          </p:cNvPr>
          <p:cNvSpPr>
            <a:spLocks noGrp="1"/>
          </p:cNvSpPr>
          <p:nvPr>
            <p:ph type="body" idx="1"/>
          </p:nvPr>
        </p:nvSpPr>
        <p:spPr>
          <a:xfrm>
            <a:off x="382588" y="1592263"/>
            <a:ext cx="11410950" cy="4681537"/>
          </a:xfrm>
          <a:prstGeom prst="rect">
            <a:avLst/>
          </a:prstGeom>
        </p:spPr>
        <p:txBody>
          <a:bodyPr vert="horz" lIns="0" tIns="36000" rIns="72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2010CD1E-9CA1-4047-EC5C-35A67A12B57B}"/>
              </a:ext>
            </a:extLst>
          </p:cNvPr>
          <p:cNvSpPr>
            <a:spLocks noGrp="1"/>
          </p:cNvSpPr>
          <p:nvPr>
            <p:ph type="dt" sz="half" idx="2"/>
          </p:nvPr>
        </p:nvSpPr>
        <p:spPr>
          <a:xfrm>
            <a:off x="382588" y="6552055"/>
            <a:ext cx="2743200" cy="152470"/>
          </a:xfrm>
          <a:prstGeom prst="rect">
            <a:avLst/>
          </a:prstGeom>
        </p:spPr>
        <p:txBody>
          <a:bodyPr vert="horz" lIns="0" tIns="0" rIns="0" bIns="0" rtlCol="0" anchor="ctr"/>
          <a:lstStyle>
            <a:lvl1pPr algn="l">
              <a:defRPr lang="en-GB" sz="800" smtClean="0">
                <a:solidFill>
                  <a:schemeClr val="tx1"/>
                </a:solidFill>
                <a:latin typeface="+mn-lt"/>
              </a:defRPr>
            </a:lvl1pPr>
          </a:lstStyle>
          <a:p>
            <a:fld id="{1A196915-F6B1-4741-B364-FFB2F79CE06D}" type="datetime3">
              <a:rPr lang="en-GB" smtClean="0"/>
              <a:t>5 December, 2025</a:t>
            </a:fld>
            <a:endParaRPr lang="en-GB"/>
          </a:p>
        </p:txBody>
      </p:sp>
      <p:sp>
        <p:nvSpPr>
          <p:cNvPr id="30" name="Footer Placeholder 29">
            <a:extLst>
              <a:ext uri="{FF2B5EF4-FFF2-40B4-BE49-F238E27FC236}">
                <a16:creationId xmlns:a16="http://schemas.microsoft.com/office/drawing/2014/main" id="{CCD669EB-2964-23B2-28EB-F3AEE913EF99}"/>
              </a:ext>
            </a:extLst>
          </p:cNvPr>
          <p:cNvSpPr>
            <a:spLocks noGrp="1"/>
          </p:cNvSpPr>
          <p:nvPr>
            <p:ph type="ftr" sz="quarter" idx="3"/>
          </p:nvPr>
        </p:nvSpPr>
        <p:spPr>
          <a:xfrm>
            <a:off x="3276600" y="6552055"/>
            <a:ext cx="8204962" cy="152470"/>
          </a:xfrm>
          <a:prstGeom prst="rect">
            <a:avLst/>
          </a:prstGeom>
        </p:spPr>
        <p:txBody>
          <a:bodyPr vert="horz" lIns="0" tIns="0" rIns="0" bIns="0" rtlCol="0" anchor="ctr"/>
          <a:lstStyle>
            <a:lvl1pPr algn="r">
              <a:defRPr sz="800">
                <a:solidFill>
                  <a:schemeClr val="tx1"/>
                </a:solidFill>
                <a:latin typeface="+mn-lt"/>
              </a:defRPr>
            </a:lvl1pPr>
          </a:lstStyle>
          <a:p>
            <a:endParaRPr lang="en-GB"/>
          </a:p>
        </p:txBody>
      </p:sp>
      <p:sp>
        <p:nvSpPr>
          <p:cNvPr id="31" name="Slide Number Placeholder 30">
            <a:extLst>
              <a:ext uri="{FF2B5EF4-FFF2-40B4-BE49-F238E27FC236}">
                <a16:creationId xmlns:a16="http://schemas.microsoft.com/office/drawing/2014/main" id="{12137EF9-38B5-7540-57C3-9E00D706F122}"/>
              </a:ext>
            </a:extLst>
          </p:cNvPr>
          <p:cNvSpPr>
            <a:spLocks noGrp="1"/>
          </p:cNvSpPr>
          <p:nvPr>
            <p:ph type="sldNum" sz="quarter" idx="4"/>
          </p:nvPr>
        </p:nvSpPr>
        <p:spPr>
          <a:xfrm>
            <a:off x="11481564" y="6552055"/>
            <a:ext cx="311973" cy="152470"/>
          </a:xfrm>
          <a:prstGeom prst="rect">
            <a:avLst/>
          </a:prstGeom>
        </p:spPr>
        <p:txBody>
          <a:bodyPr vert="horz" lIns="0" tIns="0" rIns="0" bIns="0" rtlCol="0" anchor="ctr"/>
          <a:lstStyle>
            <a:lvl1pPr algn="r">
              <a:defRPr sz="800">
                <a:solidFill>
                  <a:schemeClr val="tx1"/>
                </a:solidFill>
                <a:latin typeface="+mn-lt"/>
              </a:defRPr>
            </a:lvl1pPr>
          </a:lstStyle>
          <a:p>
            <a:fld id="{D05BFB15-FC18-4DE5-A1D6-75E08CC6C47C}" type="slidenum">
              <a:rPr lang="en-GB" smtClean="0"/>
              <a:pPr/>
              <a:t>‹#›</a:t>
            </a:fld>
            <a:endParaRPr lang="en-GB"/>
          </a:p>
        </p:txBody>
      </p:sp>
    </p:spTree>
    <p:extLst>
      <p:ext uri="{BB962C8B-B14F-4D97-AF65-F5344CB8AC3E}">
        <p14:creationId xmlns:p14="http://schemas.microsoft.com/office/powerpoint/2010/main" val="3761274016"/>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 id="2147484282" r:id="rId24"/>
    <p:sldLayoutId id="2147484283" r:id="rId25"/>
    <p:sldLayoutId id="2147484284" r:id="rId26"/>
    <p:sldLayoutId id="2147484285" r:id="rId27"/>
    <p:sldLayoutId id="2147484286" r:id="rId28"/>
    <p:sldLayoutId id="2147484287" r:id="rId29"/>
    <p:sldLayoutId id="2147484288" r:id="rId30"/>
    <p:sldLayoutId id="2147484289" r:id="rId31"/>
    <p:sldLayoutId id="2147484290" r:id="rId32"/>
    <p:sldLayoutId id="2147484291" r:id="rId33"/>
    <p:sldLayoutId id="2147484292" r:id="rId34"/>
    <p:sldLayoutId id="2147484293" r:id="rId35"/>
    <p:sldLayoutId id="2147484294" r:id="rId36"/>
    <p:sldLayoutId id="2147484295" r:id="rId37"/>
    <p:sldLayoutId id="2147484296" r:id="rId38"/>
    <p:sldLayoutId id="2147484297" r:id="rId39"/>
    <p:sldLayoutId id="2147484298" r:id="rId40"/>
    <p:sldLayoutId id="2147484299" r:id="rId41"/>
    <p:sldLayoutId id="2147484300" r:id="rId42"/>
    <p:sldLayoutId id="2147484301" r:id="rId43"/>
    <p:sldLayoutId id="2147484302" r:id="rId44"/>
    <p:sldLayoutId id="2147484303" r:id="rId45"/>
    <p:sldLayoutId id="2147484304" r:id="rId46"/>
    <p:sldLayoutId id="2147484305" r:id="rId47"/>
    <p:sldLayoutId id="2147484306" r:id="rId48"/>
    <p:sldLayoutId id="2147484307" r:id="rId49"/>
    <p:sldLayoutId id="2147484308" r:id="rId50"/>
    <p:sldLayoutId id="2147484309" r:id="rId51"/>
    <p:sldLayoutId id="2147484310" r:id="rId52"/>
    <p:sldLayoutId id="2147484311" r:id="rId53"/>
    <p:sldLayoutId id="2147484312" r:id="rId54"/>
    <p:sldLayoutId id="2147484313" r:id="rId55"/>
    <p:sldLayoutId id="2147484314" r:id="rId56"/>
    <p:sldLayoutId id="2147484315" r:id="rId57"/>
    <p:sldLayoutId id="2147484316" r:id="rId58"/>
    <p:sldLayoutId id="2147484317" r:id="rId59"/>
    <p:sldLayoutId id="2147484318" r:id="rId60"/>
    <p:sldLayoutId id="2147484319" r:id="rId61"/>
    <p:sldLayoutId id="2147484320" r:id="rId62"/>
    <p:sldLayoutId id="2147484321" r:id="rId63"/>
    <p:sldLayoutId id="2147484322" r:id="rId64"/>
    <p:sldLayoutId id="2147484323" r:id="rId65"/>
    <p:sldLayoutId id="2147484324" r:id="rId66"/>
    <p:sldLayoutId id="2147484325" r:id="rId67"/>
    <p:sldLayoutId id="2147484326" r:id="rId68"/>
    <p:sldLayoutId id="2147484327" r:id="rId69"/>
    <p:sldLayoutId id="2147484328" r:id="rId70"/>
    <p:sldLayoutId id="2147484329" r:id="rId71"/>
    <p:sldLayoutId id="2147484330" r:id="rId72"/>
    <p:sldLayoutId id="2147484331" r:id="rId73"/>
    <p:sldLayoutId id="2147484332" r:id="rId74"/>
    <p:sldLayoutId id="2147484333" r:id="rId75"/>
    <p:sldLayoutId id="2147484334" r:id="rId76"/>
    <p:sldLayoutId id="2147484335" r:id="rId77"/>
    <p:sldLayoutId id="2147484336" r:id="rId78"/>
    <p:sldLayoutId id="2147484337" r:id="rId79"/>
    <p:sldLayoutId id="2147484338" r:id="rId80"/>
    <p:sldLayoutId id="2147484339" r:id="rId81"/>
    <p:sldLayoutId id="2147484340" r:id="rId82"/>
    <p:sldLayoutId id="2147484341" r:id="rId83"/>
    <p:sldLayoutId id="2147484342" r:id="rId84"/>
    <p:sldLayoutId id="2147484343" r:id="rId85"/>
    <p:sldLayoutId id="2147484344" r:id="rId86"/>
    <p:sldLayoutId id="2147484345" r:id="rId87"/>
    <p:sldLayoutId id="2147484346" r:id="rId88"/>
    <p:sldLayoutId id="2147484347" r:id="rId89"/>
    <p:sldLayoutId id="2147484348" r:id="rId90"/>
    <p:sldLayoutId id="2147484349" r:id="rId91"/>
    <p:sldLayoutId id="2147484350" r:id="rId92"/>
    <p:sldLayoutId id="2147484351" r:id="rId93"/>
    <p:sldLayoutId id="2147484352" r:id="rId94"/>
    <p:sldLayoutId id="2147484353" r:id="rId95"/>
    <p:sldLayoutId id="2147484354" r:id="rId96"/>
    <p:sldLayoutId id="2147484355" r:id="rId97"/>
    <p:sldLayoutId id="2147484356" r:id="rId98"/>
    <p:sldLayoutId id="2147484357" r:id="rId99"/>
    <p:sldLayoutId id="2147484358" r:id="rId100"/>
    <p:sldLayoutId id="2147484359" r:id="rId101"/>
    <p:sldLayoutId id="2147484360" r:id="rId102"/>
    <p:sldLayoutId id="2147484361" r:id="rId103"/>
    <p:sldLayoutId id="2147484362" r:id="rId104"/>
    <p:sldLayoutId id="2147484363" r:id="rId105"/>
    <p:sldLayoutId id="2147484364" r:id="rId106"/>
    <p:sldLayoutId id="2147484365" r:id="rId107"/>
    <p:sldLayoutId id="2147484366" r:id="rId108"/>
    <p:sldLayoutId id="2147484367" r:id="rId109"/>
    <p:sldLayoutId id="2147484368" r:id="rId110"/>
    <p:sldLayoutId id="2147484369" r:id="rId111"/>
    <p:sldLayoutId id="2147484370" r:id="rId112"/>
    <p:sldLayoutId id="2147484371" r:id="rId113"/>
    <p:sldLayoutId id="2147484372" r:id="rId114"/>
    <p:sldLayoutId id="2147484373" r:id="rId115"/>
    <p:sldLayoutId id="2147484374" r:id="rId116"/>
    <p:sldLayoutId id="2147484375" r:id="rId117"/>
    <p:sldLayoutId id="2147484376" r:id="rId118"/>
    <p:sldLayoutId id="2147484377" r:id="rId119"/>
    <p:sldLayoutId id="2147484378" r:id="rId120"/>
    <p:sldLayoutId id="2147484379" r:id="rId121"/>
    <p:sldLayoutId id="2147484380" r:id="rId122"/>
    <p:sldLayoutId id="2147484381" r:id="rId123"/>
    <p:sldLayoutId id="2147484382" r:id="rId124"/>
    <p:sldLayoutId id="2147484383" r:id="rId125"/>
    <p:sldLayoutId id="2147484384" r:id="rId126"/>
    <p:sldLayoutId id="2147484385" r:id="rId127"/>
    <p:sldLayoutId id="2147484386" r:id="rId128"/>
    <p:sldLayoutId id="2147484387" r:id="rId129"/>
    <p:sldLayoutId id="2147484388" r:id="rId130"/>
    <p:sldLayoutId id="2147484389" r:id="rId131"/>
    <p:sldLayoutId id="2147484390" r:id="rId132"/>
    <p:sldLayoutId id="2147484391" r:id="rId133"/>
    <p:sldLayoutId id="2147484392" r:id="rId134"/>
    <p:sldLayoutId id="2147484393" r:id="rId135"/>
    <p:sldLayoutId id="2147484394" r:id="rId136"/>
    <p:sldLayoutId id="2147484395" r:id="rId137"/>
    <p:sldLayoutId id="2147484396" r:id="rId138"/>
    <p:sldLayoutId id="2147484397" r:id="rId139"/>
    <p:sldLayoutId id="2147484398" r:id="rId140"/>
    <p:sldLayoutId id="2147484399" r:id="rId141"/>
    <p:sldLayoutId id="2147484400" r:id="rId142"/>
    <p:sldLayoutId id="2147484401" r:id="rId143"/>
    <p:sldLayoutId id="2147484402" r:id="rId144"/>
    <p:sldLayoutId id="2147484403" r:id="rId145"/>
    <p:sldLayoutId id="2147484404" r:id="rId146"/>
    <p:sldLayoutId id="2147484405" r:id="rId147"/>
    <p:sldLayoutId id="2147484406" r:id="rId148"/>
    <p:sldLayoutId id="2147484407" r:id="rId149"/>
    <p:sldLayoutId id="2147484408" r:id="rId150"/>
    <p:sldLayoutId id="2147484409" r:id="rId151"/>
    <p:sldLayoutId id="2147484410" r:id="rId152"/>
    <p:sldLayoutId id="2147484411" r:id="rId153"/>
    <p:sldLayoutId id="2147484412" r:id="rId154"/>
    <p:sldLayoutId id="2147484413" r:id="rId155"/>
    <p:sldLayoutId id="2147484414" r:id="rId156"/>
    <p:sldLayoutId id="2147484415" r:id="rId157"/>
    <p:sldLayoutId id="2147484416" r:id="rId158"/>
    <p:sldLayoutId id="2147484417" r:id="rId159"/>
    <p:sldLayoutId id="2147484418" r:id="rId160"/>
    <p:sldLayoutId id="2147484419" r:id="rId161"/>
    <p:sldLayoutId id="2147484420" r:id="rId162"/>
    <p:sldLayoutId id="2147484421" r:id="rId163"/>
    <p:sldLayoutId id="2147484422" r:id="rId164"/>
    <p:sldLayoutId id="2147484423" r:id="rId165"/>
    <p:sldLayoutId id="2147484424" r:id="rId166"/>
    <p:sldLayoutId id="2147484425" r:id="rId167"/>
    <p:sldLayoutId id="2147484426" r:id="rId168"/>
    <p:sldLayoutId id="2147484427" r:id="rId169"/>
    <p:sldLayoutId id="2147484428" r:id="rId170"/>
    <p:sldLayoutId id="2147484429" r:id="rId171"/>
    <p:sldLayoutId id="2147484430" r:id="rId172"/>
    <p:sldLayoutId id="2147484431" r:id="rId173"/>
    <p:sldLayoutId id="2147484432" r:id="rId174"/>
    <p:sldLayoutId id="2147484433" r:id="rId175"/>
    <p:sldLayoutId id="2147484434" r:id="rId176"/>
    <p:sldLayoutId id="2147484435" r:id="rId177"/>
    <p:sldLayoutId id="2147484436" r:id="rId178"/>
    <p:sldLayoutId id="2147484437" r:id="rId179"/>
    <p:sldLayoutId id="2147484438" r:id="rId180"/>
    <p:sldLayoutId id="2147484439" r:id="rId181"/>
    <p:sldLayoutId id="2147484440" r:id="rId182"/>
    <p:sldLayoutId id="2147484441" r:id="rId183"/>
    <p:sldLayoutId id="2147484442" r:id="rId184"/>
    <p:sldLayoutId id="2147484443" r:id="rId185"/>
    <p:sldLayoutId id="2147484444" r:id="rId186"/>
    <p:sldLayoutId id="2147484445" r:id="rId187"/>
    <p:sldLayoutId id="2147484446" r:id="rId188"/>
    <p:sldLayoutId id="2147484447" r:id="rId189"/>
    <p:sldLayoutId id="2147484448" r:id="rId190"/>
    <p:sldLayoutId id="2147484449" r:id="rId191"/>
    <p:sldLayoutId id="2147484450" r:id="rId192"/>
    <p:sldLayoutId id="2147484451" r:id="rId193"/>
    <p:sldLayoutId id="2147484452" r:id="rId194"/>
    <p:sldLayoutId id="2147484453" r:id="rId195"/>
    <p:sldLayoutId id="2147484454" r:id="rId196"/>
    <p:sldLayoutId id="2147484455" r:id="rId197"/>
    <p:sldLayoutId id="2147484456" r:id="rId198"/>
    <p:sldLayoutId id="2147484457" r:id="rId199"/>
    <p:sldLayoutId id="2147484458" r:id="rId200"/>
    <p:sldLayoutId id="2147484459" r:id="rId201"/>
    <p:sldLayoutId id="2147484460" r:id="rId202"/>
    <p:sldLayoutId id="2147484461" r:id="rId203"/>
    <p:sldLayoutId id="2147484462" r:id="rId204"/>
    <p:sldLayoutId id="2147484463" r:id="rId205"/>
    <p:sldLayoutId id="2147484464" r:id="rId206"/>
    <p:sldLayoutId id="2147484465" r:id="rId207"/>
    <p:sldLayoutId id="2147484466" r:id="rId208"/>
    <p:sldLayoutId id="2147484467" r:id="rId209"/>
    <p:sldLayoutId id="2147484468" r:id="rId210"/>
    <p:sldLayoutId id="2147484469" r:id="rId211"/>
    <p:sldLayoutId id="2147484470" r:id="rId212"/>
    <p:sldLayoutId id="2147484471" r:id="rId213"/>
    <p:sldLayoutId id="2147484472" r:id="rId214"/>
    <p:sldLayoutId id="2147484473" r:id="rId215"/>
    <p:sldLayoutId id="2147484474" r:id="rId216"/>
    <p:sldLayoutId id="2147484475" r:id="rId217"/>
    <p:sldLayoutId id="2147484476" r:id="rId218"/>
    <p:sldLayoutId id="2147484477" r:id="rId219"/>
    <p:sldLayoutId id="2147484478" r:id="rId220"/>
    <p:sldLayoutId id="2147484479" r:id="rId221"/>
    <p:sldLayoutId id="2147484480" r:id="rId222"/>
    <p:sldLayoutId id="2147484481" r:id="rId223"/>
    <p:sldLayoutId id="2147484482" r:id="rId224"/>
    <p:sldLayoutId id="2147484483" r:id="rId225"/>
    <p:sldLayoutId id="2147484484" r:id="rId226"/>
    <p:sldLayoutId id="2147484485" r:id="rId227"/>
    <p:sldLayoutId id="2147484486" r:id="rId228"/>
    <p:sldLayoutId id="2147484487" r:id="rId229"/>
    <p:sldLayoutId id="2147484488" r:id="rId230"/>
    <p:sldLayoutId id="2147484489" r:id="rId231"/>
    <p:sldLayoutId id="2147484490" r:id="rId232"/>
    <p:sldLayoutId id="2147484491" r:id="rId233"/>
    <p:sldLayoutId id="2147484492" r:id="rId234"/>
    <p:sldLayoutId id="2147484493" r:id="rId235"/>
    <p:sldLayoutId id="2147484494" r:id="rId236"/>
    <p:sldLayoutId id="2147484495" r:id="rId237"/>
    <p:sldLayoutId id="2147484496" r:id="rId238"/>
    <p:sldLayoutId id="2147484497" r:id="rId239"/>
    <p:sldLayoutId id="2147484498" r:id="rId240"/>
    <p:sldLayoutId id="2147484499" r:id="rId241"/>
    <p:sldLayoutId id="2147484500" r:id="rId242"/>
    <p:sldLayoutId id="2147484501" r:id="rId243"/>
    <p:sldLayoutId id="2147484502" r:id="rId244"/>
    <p:sldLayoutId id="2147484503" r:id="rId245"/>
    <p:sldLayoutId id="2147484504" r:id="rId246"/>
    <p:sldLayoutId id="2147484505" r:id="rId247"/>
    <p:sldLayoutId id="2147484506" r:id="rId248"/>
    <p:sldLayoutId id="2147484507" r:id="rId249"/>
    <p:sldLayoutId id="2147484508" r:id="rId250"/>
    <p:sldLayoutId id="2147484509" r:id="rId251"/>
    <p:sldLayoutId id="2147484510" r:id="rId252"/>
    <p:sldLayoutId id="2147484511" r:id="rId253"/>
    <p:sldLayoutId id="2147484512" r:id="rId254"/>
    <p:sldLayoutId id="2147484513" r:id="rId255"/>
    <p:sldLayoutId id="2147484514" r:id="rId256"/>
    <p:sldLayoutId id="2147484515" r:id="rId257"/>
    <p:sldLayoutId id="2147484516" r:id="rId258"/>
    <p:sldLayoutId id="2147484517" r:id="rId259"/>
    <p:sldLayoutId id="2147484518" r:id="rId260"/>
    <p:sldLayoutId id="2147484519" r:id="rId261"/>
    <p:sldLayoutId id="2147484520" r:id="rId262"/>
    <p:sldLayoutId id="2147484521" r:id="rId263"/>
    <p:sldLayoutId id="2147484522" r:id="rId264"/>
    <p:sldLayoutId id="2147484523" r:id="rId265"/>
    <p:sldLayoutId id="2147484524" r:id="rId266"/>
    <p:sldLayoutId id="2147484525" r:id="rId267"/>
    <p:sldLayoutId id="2147484526" r:id="rId268"/>
    <p:sldLayoutId id="2147484527" r:id="rId269"/>
    <p:sldLayoutId id="2147484528" r:id="rId270"/>
    <p:sldLayoutId id="2147484529" r:id="rId271"/>
    <p:sldLayoutId id="2147484530" r:id="rId272"/>
    <p:sldLayoutId id="2147484531" r:id="rId273"/>
    <p:sldLayoutId id="2147484532" r:id="rId274"/>
    <p:sldLayoutId id="2147484533" r:id="rId275"/>
    <p:sldLayoutId id="2147484534" r:id="rId276"/>
    <p:sldLayoutId id="2147484535" r:id="rId277"/>
    <p:sldLayoutId id="2147484536" r:id="rId278"/>
    <p:sldLayoutId id="2147484537" r:id="rId279"/>
    <p:sldLayoutId id="2147484538" r:id="rId280"/>
    <p:sldLayoutId id="2147484539" r:id="rId281"/>
    <p:sldLayoutId id="2147484540" r:id="rId282"/>
    <p:sldLayoutId id="2147484541" r:id="rId283"/>
    <p:sldLayoutId id="2147484542" r:id="rId284"/>
    <p:sldLayoutId id="2147484543" r:id="rId285"/>
    <p:sldLayoutId id="2147484544" r:id="rId286"/>
    <p:sldLayoutId id="2147484545" r:id="rId287"/>
    <p:sldLayoutId id="2147484546" r:id="rId288"/>
    <p:sldLayoutId id="2147484547" r:id="rId289"/>
    <p:sldLayoutId id="2147484548" r:id="rId290"/>
    <p:sldLayoutId id="2147484549" r:id="rId291"/>
    <p:sldLayoutId id="2147484550" r:id="rId292"/>
    <p:sldLayoutId id="2147484551" r:id="rId293"/>
    <p:sldLayoutId id="2147484552" r:id="rId294"/>
    <p:sldLayoutId id="2147484553" r:id="rId295"/>
    <p:sldLayoutId id="2147484554" r:id="rId296"/>
    <p:sldLayoutId id="2147484555" r:id="rId297"/>
    <p:sldLayoutId id="2147484556" r:id="rId298"/>
    <p:sldLayoutId id="2147484557" r:id="rId299"/>
    <p:sldLayoutId id="2147484558" r:id="rId300"/>
    <p:sldLayoutId id="2147484559" r:id="rId301"/>
    <p:sldLayoutId id="2147484560" r:id="rId302"/>
    <p:sldLayoutId id="2147484561" r:id="rId303"/>
    <p:sldLayoutId id="2147484562" r:id="rId304"/>
    <p:sldLayoutId id="2147484563" r:id="rId305"/>
    <p:sldLayoutId id="2147484564" r:id="rId306"/>
    <p:sldLayoutId id="2147484565" r:id="rId307"/>
    <p:sldLayoutId id="2147484566" r:id="rId308"/>
    <p:sldLayoutId id="2147484567" r:id="rId309"/>
    <p:sldLayoutId id="2147484568" r:id="rId310"/>
    <p:sldLayoutId id="2147484569" r:id="rId311"/>
    <p:sldLayoutId id="2147484570" r:id="rId312"/>
    <p:sldLayoutId id="2147484571" r:id="rId313"/>
    <p:sldLayoutId id="2147484572" r:id="rId314"/>
    <p:sldLayoutId id="2147484573" r:id="rId315"/>
    <p:sldLayoutId id="2147484574" r:id="rId316"/>
    <p:sldLayoutId id="2147484575" r:id="rId317"/>
    <p:sldLayoutId id="2147484576" r:id="rId318"/>
    <p:sldLayoutId id="2147484577" r:id="rId319"/>
    <p:sldLayoutId id="2147484578" r:id="rId320"/>
    <p:sldLayoutId id="2147484579" r:id="rId321"/>
    <p:sldLayoutId id="2147484580" r:id="rId322"/>
    <p:sldLayoutId id="2147484581" r:id="rId323"/>
    <p:sldLayoutId id="2147484582" r:id="rId324"/>
    <p:sldLayoutId id="2147484583" r:id="rId325"/>
    <p:sldLayoutId id="2147484584" r:id="rId326"/>
    <p:sldLayoutId id="2147484585" r:id="rId327"/>
    <p:sldLayoutId id="2147484586" r:id="rId328"/>
    <p:sldLayoutId id="2147484587" r:id="rId329"/>
    <p:sldLayoutId id="2147484588" r:id="rId330"/>
    <p:sldLayoutId id="2147484589" r:id="rId331"/>
    <p:sldLayoutId id="2147484590" r:id="rId332"/>
    <p:sldLayoutId id="2147484591" r:id="rId333"/>
    <p:sldLayoutId id="2147484592" r:id="rId334"/>
    <p:sldLayoutId id="2147484593" r:id="rId335"/>
    <p:sldLayoutId id="2147484594" r:id="rId336"/>
    <p:sldLayoutId id="2147484595" r:id="rId337"/>
    <p:sldLayoutId id="2147484596" r:id="rId338"/>
    <p:sldLayoutId id="2147484597" r:id="rId339"/>
    <p:sldLayoutId id="2147484598" r:id="rId340"/>
    <p:sldLayoutId id="2147484599" r:id="rId341"/>
    <p:sldLayoutId id="2147484600" r:id="rId342"/>
    <p:sldLayoutId id="2147484601" r:id="rId343"/>
    <p:sldLayoutId id="2147484602" r:id="rId344"/>
    <p:sldLayoutId id="2147484603" r:id="rId345"/>
    <p:sldLayoutId id="2147484604" r:id="rId346"/>
    <p:sldLayoutId id="2147484605" r:id="rId347"/>
    <p:sldLayoutId id="2147484606" r:id="rId348"/>
    <p:sldLayoutId id="2147484607" r:id="rId349"/>
    <p:sldLayoutId id="2147484608" r:id="rId350"/>
    <p:sldLayoutId id="2147484609" r:id="rId351"/>
    <p:sldLayoutId id="2147484610" r:id="rId352"/>
    <p:sldLayoutId id="2147484611" r:id="rId353"/>
    <p:sldLayoutId id="2147484612" r:id="rId354"/>
    <p:sldLayoutId id="2147484613" r:id="rId355"/>
    <p:sldLayoutId id="2147484614" r:id="rId356"/>
    <p:sldLayoutId id="2147484615" r:id="rId357"/>
    <p:sldLayoutId id="2147484616" r:id="rId358"/>
    <p:sldLayoutId id="2147484617" r:id="rId359"/>
    <p:sldLayoutId id="2147484618" r:id="rId360"/>
    <p:sldLayoutId id="2147484619" r:id="rId361"/>
    <p:sldLayoutId id="2147484620" r:id="rId362"/>
    <p:sldLayoutId id="2147484621" r:id="rId363"/>
    <p:sldLayoutId id="2147484622" r:id="rId364"/>
    <p:sldLayoutId id="2147484623" r:id="rId365"/>
    <p:sldLayoutId id="2147484624" r:id="rId366"/>
    <p:sldLayoutId id="2147484625" r:id="rId367"/>
    <p:sldLayoutId id="2147484626" r:id="rId368"/>
    <p:sldLayoutId id="2147484627" r:id="rId369"/>
    <p:sldLayoutId id="2147484628" r:id="rId370"/>
    <p:sldLayoutId id="2147484629" r:id="rId371"/>
    <p:sldLayoutId id="2147484630" r:id="rId372"/>
    <p:sldLayoutId id="2147484631" r:id="rId373"/>
    <p:sldLayoutId id="2147484632" r:id="rId374"/>
    <p:sldLayoutId id="2147484633" r:id="rId375"/>
    <p:sldLayoutId id="2147484634" r:id="rId376"/>
    <p:sldLayoutId id="2147484635" r:id="rId377"/>
    <p:sldLayoutId id="2147484636" r:id="rId378"/>
    <p:sldLayoutId id="2147484637" r:id="rId379"/>
    <p:sldLayoutId id="2147484638" r:id="rId380"/>
    <p:sldLayoutId id="2147484639" r:id="rId381"/>
    <p:sldLayoutId id="2147484640" r:id="rId382"/>
    <p:sldLayoutId id="2147484641" r:id="rId383"/>
    <p:sldLayoutId id="2147484642" r:id="rId384"/>
    <p:sldLayoutId id="2147484643" r:id="rId385"/>
    <p:sldLayoutId id="2147484644" r:id="rId386"/>
    <p:sldLayoutId id="2147484645" r:id="rId387"/>
    <p:sldLayoutId id="2147484646" r:id="rId388"/>
    <p:sldLayoutId id="2147484647" r:id="rId389"/>
    <p:sldLayoutId id="2147484648" r:id="rId390"/>
    <p:sldLayoutId id="2147484649" r:id="rId391"/>
    <p:sldLayoutId id="2147484650" r:id="rId392"/>
    <p:sldLayoutId id="2147484651" r:id="rId393"/>
    <p:sldLayoutId id="2147484652" r:id="rId394"/>
    <p:sldLayoutId id="2147484653" r:id="rId395"/>
    <p:sldLayoutId id="2147484654" r:id="rId396"/>
    <p:sldLayoutId id="2147484655" r:id="rId397"/>
    <p:sldLayoutId id="2147484656" r:id="rId398"/>
    <p:sldLayoutId id="2147484657" r:id="rId399"/>
    <p:sldLayoutId id="2147484658" r:id="rId400"/>
    <p:sldLayoutId id="2147484659" r:id="rId401"/>
    <p:sldLayoutId id="2147484660" r:id="rId402"/>
    <p:sldLayoutId id="2147484661" r:id="rId403"/>
    <p:sldLayoutId id="2147484662" r:id="rId404"/>
    <p:sldLayoutId id="2147484663" r:id="rId405"/>
    <p:sldLayoutId id="2147484664" r:id="rId406"/>
    <p:sldLayoutId id="2147484665" r:id="rId407"/>
    <p:sldLayoutId id="2147484666" r:id="rId408"/>
    <p:sldLayoutId id="2147484667" r:id="rId409"/>
    <p:sldLayoutId id="2147484668" r:id="rId410"/>
    <p:sldLayoutId id="2147484669" r:id="rId411"/>
    <p:sldLayoutId id="2147484670" r:id="rId412"/>
    <p:sldLayoutId id="2147484671" r:id="rId413"/>
    <p:sldLayoutId id="2147484672" r:id="rId414"/>
    <p:sldLayoutId id="2147484673" r:id="rId415"/>
    <p:sldLayoutId id="2147484674" r:id="rId416"/>
    <p:sldLayoutId id="2147484675" r:id="rId417"/>
    <p:sldLayoutId id="2147484676" r:id="rId418"/>
    <p:sldLayoutId id="2147484677" r:id="rId419"/>
    <p:sldLayoutId id="2147484678" r:id="rId420"/>
    <p:sldLayoutId id="2147484679" r:id="rId421"/>
    <p:sldLayoutId id="2147484680" r:id="rId422"/>
    <p:sldLayoutId id="2147484681" r:id="rId423"/>
    <p:sldLayoutId id="2147484682" r:id="rId424"/>
    <p:sldLayoutId id="2147484683" r:id="rId425"/>
    <p:sldLayoutId id="2147484684" r:id="rId426"/>
    <p:sldLayoutId id="2147484685" r:id="rId427"/>
    <p:sldLayoutId id="2147484686" r:id="rId428"/>
    <p:sldLayoutId id="2147484687" r:id="rId429"/>
    <p:sldLayoutId id="2147484688" r:id="rId430"/>
    <p:sldLayoutId id="2147484689" r:id="rId431"/>
    <p:sldLayoutId id="2147484690" r:id="rId432"/>
    <p:sldLayoutId id="2147484691" r:id="rId433"/>
    <p:sldLayoutId id="2147484692" r:id="rId434"/>
    <p:sldLayoutId id="2147484693" r:id="rId435"/>
    <p:sldLayoutId id="2147484694" r:id="rId436"/>
    <p:sldLayoutId id="2147484695" r:id="rId437"/>
    <p:sldLayoutId id="2147484696" r:id="rId438"/>
    <p:sldLayoutId id="2147484697" r:id="rId439"/>
    <p:sldLayoutId id="2147484698" r:id="rId440"/>
    <p:sldLayoutId id="2147484699" r:id="rId441"/>
    <p:sldLayoutId id="2147484700" r:id="rId442"/>
    <p:sldLayoutId id="2147484701" r:id="rId443"/>
    <p:sldLayoutId id="2147484702" r:id="rId444"/>
    <p:sldLayoutId id="2147484703" r:id="rId445"/>
    <p:sldLayoutId id="2147484704" r:id="rId446"/>
    <p:sldLayoutId id="2147484705" r:id="rId447"/>
    <p:sldLayoutId id="2147484706" r:id="rId448"/>
    <p:sldLayoutId id="2147484707" r:id="rId449"/>
    <p:sldLayoutId id="2147484708" r:id="rId450"/>
    <p:sldLayoutId id="2147484709" r:id="rId451"/>
    <p:sldLayoutId id="2147484710" r:id="rId452"/>
    <p:sldLayoutId id="2147484711" r:id="rId453"/>
    <p:sldLayoutId id="2147484712" r:id="rId454"/>
    <p:sldLayoutId id="2147484713" r:id="rId455"/>
    <p:sldLayoutId id="2147484714" r:id="rId456"/>
    <p:sldLayoutId id="2147484715" r:id="rId457"/>
    <p:sldLayoutId id="2147484716" r:id="rId458"/>
    <p:sldLayoutId id="2147484717" r:id="rId459"/>
    <p:sldLayoutId id="2147484718" r:id="rId460"/>
    <p:sldLayoutId id="2147484719" r:id="rId461"/>
    <p:sldLayoutId id="2147484720" r:id="rId462"/>
    <p:sldLayoutId id="2147484721" r:id="rId463"/>
    <p:sldLayoutId id="2147484722" r:id="rId464"/>
    <p:sldLayoutId id="2147484723" r:id="rId465"/>
    <p:sldLayoutId id="2147484724" r:id="rId466"/>
    <p:sldLayoutId id="2147484725" r:id="rId467"/>
    <p:sldLayoutId id="2147484726" r:id="rId468"/>
    <p:sldLayoutId id="2147484727" r:id="rId469"/>
    <p:sldLayoutId id="2147484728" r:id="rId470"/>
    <p:sldLayoutId id="2147484729" r:id="rId471"/>
    <p:sldLayoutId id="2147484730" r:id="rId472"/>
    <p:sldLayoutId id="2147484731" r:id="rId473"/>
    <p:sldLayoutId id="2147484732" r:id="rId474"/>
    <p:sldLayoutId id="2147484733" r:id="rId475"/>
    <p:sldLayoutId id="2147484734" r:id="rId476"/>
    <p:sldLayoutId id="2147484735" r:id="rId477"/>
    <p:sldLayoutId id="2147484736" r:id="rId478"/>
    <p:sldLayoutId id="2147484737" r:id="rId479"/>
    <p:sldLayoutId id="2147484738" r:id="rId480"/>
    <p:sldLayoutId id="2147484739" r:id="rId481"/>
    <p:sldLayoutId id="2147484740" r:id="rId482"/>
    <p:sldLayoutId id="2147484741" r:id="rId483"/>
    <p:sldLayoutId id="2147484742" r:id="rId484"/>
    <p:sldLayoutId id="2147484743" r:id="rId485"/>
    <p:sldLayoutId id="2147484744" r:id="rId486"/>
    <p:sldLayoutId id="2147484745" r:id="rId487"/>
    <p:sldLayoutId id="2147484746" r:id="rId488"/>
    <p:sldLayoutId id="2147484747" r:id="rId489"/>
    <p:sldLayoutId id="2147484748" r:id="rId490"/>
    <p:sldLayoutId id="2147484749" r:id="rId491"/>
    <p:sldLayoutId id="2147484750" r:id="rId492"/>
    <p:sldLayoutId id="2147484751" r:id="rId493"/>
    <p:sldLayoutId id="2147484752" r:id="rId494"/>
    <p:sldLayoutId id="2147484753" r:id="rId495"/>
    <p:sldLayoutId id="2147484754" r:id="rId496"/>
    <p:sldLayoutId id="2147484755" r:id="rId497"/>
    <p:sldLayoutId id="2147484756" r:id="rId498"/>
    <p:sldLayoutId id="2147484757" r:id="rId499"/>
    <p:sldLayoutId id="2147484758" r:id="rId500"/>
    <p:sldLayoutId id="2147484759" r:id="rId501"/>
    <p:sldLayoutId id="2147484760" r:id="rId502"/>
    <p:sldLayoutId id="2147484761" r:id="rId503"/>
    <p:sldLayoutId id="2147484762" r:id="rId504"/>
    <p:sldLayoutId id="2147484763" r:id="rId505"/>
    <p:sldLayoutId id="2147484764" r:id="rId506"/>
    <p:sldLayoutId id="2147484765" r:id="rId507"/>
    <p:sldLayoutId id="2147484766" r:id="rId508"/>
    <p:sldLayoutId id="2147484767" r:id="rId509"/>
    <p:sldLayoutId id="2147484768" r:id="rId510"/>
    <p:sldLayoutId id="2147484769" r:id="rId511"/>
    <p:sldLayoutId id="2147484770" r:id="rId512"/>
    <p:sldLayoutId id="2147484771" r:id="rId513"/>
    <p:sldLayoutId id="2147484772" r:id="rId514"/>
    <p:sldLayoutId id="2147484773" r:id="rId515"/>
    <p:sldLayoutId id="2147484774" r:id="rId516"/>
    <p:sldLayoutId id="2147484775" r:id="rId517"/>
    <p:sldLayoutId id="2147484776" r:id="rId518"/>
    <p:sldLayoutId id="2147484777" r:id="rId519"/>
    <p:sldLayoutId id="2147484778" r:id="rId520"/>
    <p:sldLayoutId id="2147484779" r:id="rId521"/>
    <p:sldLayoutId id="2147484780" r:id="rId522"/>
    <p:sldLayoutId id="2147484781" r:id="rId523"/>
    <p:sldLayoutId id="2147484782" r:id="rId524"/>
    <p:sldLayoutId id="2147484783" r:id="rId525"/>
    <p:sldLayoutId id="2147484784" r:id="rId526"/>
    <p:sldLayoutId id="2147484785" r:id="rId527"/>
    <p:sldLayoutId id="2147484786" r:id="rId528"/>
    <p:sldLayoutId id="2147484787" r:id="rId529"/>
    <p:sldLayoutId id="2147484788" r:id="rId530"/>
    <p:sldLayoutId id="2147484789" r:id="rId531"/>
    <p:sldLayoutId id="2147484790" r:id="rId532"/>
    <p:sldLayoutId id="2147484791" r:id="rId533"/>
    <p:sldLayoutId id="2147484792" r:id="rId534"/>
    <p:sldLayoutId id="2147484793" r:id="rId535"/>
    <p:sldLayoutId id="2147484794" r:id="rId536"/>
    <p:sldLayoutId id="2147484795" r:id="rId537"/>
    <p:sldLayoutId id="2147484796" r:id="rId538"/>
    <p:sldLayoutId id="2147484797" r:id="rId539"/>
    <p:sldLayoutId id="2147484798" r:id="rId540"/>
    <p:sldLayoutId id="2147484799" r:id="rId541"/>
    <p:sldLayoutId id="2147484800" r:id="rId5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600" b="1" kern="1200">
          <a:solidFill>
            <a:schemeClr val="tx1"/>
          </a:solidFill>
          <a:latin typeface="GT Ultra Median Lloyds Regular" pitchFamily="50" charset="0"/>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500"/>
        </a:spcBef>
        <a:buFont typeface="Arial" panose="020B0604020202020204" pitchFamily="34" charset="0"/>
        <a:buNone/>
        <a:defRPr sz="1600" kern="1200">
          <a:solidFill>
            <a:schemeClr val="tx1"/>
          </a:solidFill>
          <a:latin typeface="+mn-lt"/>
          <a:ea typeface="+mn-ea"/>
          <a:cs typeface="+mn-cs"/>
        </a:defRPr>
      </a:lvl2pPr>
      <a:lvl3pPr marL="182563" indent="-182563"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4pPr>
      <a:lvl5pPr marL="541338" indent="-182563"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246">
          <p15:clr>
            <a:srgbClr val="F26B43"/>
          </p15:clr>
        </p15:guide>
        <p15:guide id="18" pos="241">
          <p15:clr>
            <a:srgbClr val="F26B43"/>
          </p15:clr>
        </p15:guide>
        <p15:guide id="19" orient="horz" pos="3952">
          <p15:clr>
            <a:srgbClr val="F26B43"/>
          </p15:clr>
        </p15:guide>
        <p15:guide id="20" pos="7429">
          <p15:clr>
            <a:srgbClr val="F26B43"/>
          </p15:clr>
        </p15:guide>
        <p15:guide id="21" pos="1958">
          <p15:clr>
            <a:srgbClr val="F26B43"/>
          </p15:clr>
        </p15:guide>
        <p15:guide id="22" pos="2064">
          <p15:clr>
            <a:srgbClr val="F26B43"/>
          </p15:clr>
        </p15:guide>
        <p15:guide id="23" pos="3787">
          <p15:clr>
            <a:srgbClr val="F26B43"/>
          </p15:clr>
        </p15:guide>
        <p15:guide id="24" pos="3885">
          <p15:clr>
            <a:srgbClr val="F26B43"/>
          </p15:clr>
        </p15:guide>
        <p15:guide id="25" pos="5611">
          <p15:clr>
            <a:srgbClr val="F26B43"/>
          </p15:clr>
        </p15:guide>
        <p15:guide id="26" pos="5717">
          <p15:clr>
            <a:srgbClr val="F26B43"/>
          </p15:clr>
        </p15:guide>
        <p15:guide id="27" orient="horz" pos="1003">
          <p15:clr>
            <a:srgbClr val="F26B43"/>
          </p15:clr>
        </p15:guide>
        <p15:guide id="28" orient="horz" pos="890">
          <p15:clr>
            <a:srgbClr val="F26B43"/>
          </p15:clr>
        </p15:guide>
        <p15:guide id="29" orient="horz" pos="2364">
          <p15:clr>
            <a:srgbClr val="F26B43"/>
          </p15:clr>
        </p15:guide>
        <p15:guide id="30" orient="horz" pos="2478">
          <p15:clr>
            <a:srgbClr val="F26B43"/>
          </p15:clr>
        </p15:guide>
        <p15:guide id="31" orient="horz" pos="38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6.xml"/></Relationships>
</file>

<file path=ppt/slides/_rels/slide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3.xml"/><Relationship Id="rId1" Type="http://schemas.openxmlformats.org/officeDocument/2006/relationships/slideLayout" Target="../slideLayouts/slideLayout556.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5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 Id="rId9"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2E33718-1C88-8C8F-7668-3CA1B55C3FB3}"/>
              </a:ext>
            </a:extLst>
          </p:cNvPr>
          <p:cNvSpPr>
            <a:spLocks noGrp="1"/>
          </p:cNvSpPr>
          <p:nvPr>
            <p:ph type="body" sz="quarter" idx="12"/>
          </p:nvPr>
        </p:nvSpPr>
        <p:spPr>
          <a:xfrm>
            <a:off x="1010480" y="2086182"/>
            <a:ext cx="10105195" cy="2243791"/>
          </a:xfrm>
        </p:spPr>
        <p:txBody>
          <a:bodyPr/>
          <a:lstStyle/>
          <a:p>
            <a:r>
              <a:rPr lang="en-GB" sz="5160" dirty="0">
                <a:latin typeface="GT Ultra Median Lloyds Black"/>
              </a:rPr>
              <a:t>What Targeted Support means to us</a:t>
            </a:r>
            <a:endParaRPr lang="en-GB" sz="5160" dirty="0"/>
          </a:p>
        </p:txBody>
      </p:sp>
      <p:sp>
        <p:nvSpPr>
          <p:cNvPr id="4" name="Slide Number Placeholder 3">
            <a:extLst>
              <a:ext uri="{FF2B5EF4-FFF2-40B4-BE49-F238E27FC236}">
                <a16:creationId xmlns:a16="http://schemas.microsoft.com/office/drawing/2014/main" id="{56EE795A-54B9-90BE-327B-0324BD83E40B}"/>
              </a:ext>
            </a:extLst>
          </p:cNvPr>
          <p:cNvSpPr>
            <a:spLocks noGrp="1"/>
          </p:cNvSpPr>
          <p:nvPr>
            <p:ph type="sldNum" sz="quarter" idx="4"/>
          </p:nvPr>
        </p:nvSpPr>
        <p:spPr/>
        <p:txBody>
          <a:bodyPr/>
          <a:lstStyle/>
          <a:p>
            <a:fld id="{B6F15528-21DE-4FAA-801E-634DDDAF4B2B}" type="slidenum">
              <a:rPr lang="en-GB" smtClean="0"/>
              <a:pPr/>
              <a:t>1</a:t>
            </a:fld>
            <a:endParaRPr lang="en-GB"/>
          </a:p>
        </p:txBody>
      </p:sp>
    </p:spTree>
    <p:extLst>
      <p:ext uri="{BB962C8B-B14F-4D97-AF65-F5344CB8AC3E}">
        <p14:creationId xmlns:p14="http://schemas.microsoft.com/office/powerpoint/2010/main" val="362796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38AD3-76AA-EA58-6D74-7EB77BC78A0A}"/>
            </a:ext>
          </a:extLst>
        </p:cNvPr>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BFA6E11D-2F0E-6843-117E-E265BEBF0AC1}"/>
              </a:ext>
            </a:extLst>
          </p:cNvPr>
          <p:cNvCxnSpPr/>
          <p:nvPr/>
        </p:nvCxnSpPr>
        <p:spPr>
          <a:xfrm>
            <a:off x="0" y="4125580"/>
            <a:ext cx="12192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Arrow: Left 25">
            <a:extLst>
              <a:ext uri="{FF2B5EF4-FFF2-40B4-BE49-F238E27FC236}">
                <a16:creationId xmlns:a16="http://schemas.microsoft.com/office/drawing/2014/main" id="{BD07EFC9-A793-23C1-96A6-7232C6FF15F9}"/>
              </a:ext>
            </a:extLst>
          </p:cNvPr>
          <p:cNvSpPr/>
          <p:nvPr/>
        </p:nvSpPr>
        <p:spPr>
          <a:xfrm>
            <a:off x="397567" y="1138300"/>
            <a:ext cx="4410764" cy="757016"/>
          </a:xfrm>
          <a:prstGeom prst="lef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Guidance</a:t>
            </a:r>
          </a:p>
        </p:txBody>
      </p:sp>
      <p:sp>
        <p:nvSpPr>
          <p:cNvPr id="24" name="Arrow: Right 23">
            <a:extLst>
              <a:ext uri="{FF2B5EF4-FFF2-40B4-BE49-F238E27FC236}">
                <a16:creationId xmlns:a16="http://schemas.microsoft.com/office/drawing/2014/main" id="{B6E29164-7098-3DE7-FAE9-7549A1CED7C9}"/>
              </a:ext>
            </a:extLst>
          </p:cNvPr>
          <p:cNvSpPr/>
          <p:nvPr/>
        </p:nvSpPr>
        <p:spPr>
          <a:xfrm>
            <a:off x="7245836" y="1154306"/>
            <a:ext cx="4410765" cy="742823"/>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Advice</a:t>
            </a:r>
          </a:p>
        </p:txBody>
      </p:sp>
      <p:sp>
        <p:nvSpPr>
          <p:cNvPr id="2" name="Title 1">
            <a:extLst>
              <a:ext uri="{FF2B5EF4-FFF2-40B4-BE49-F238E27FC236}">
                <a16:creationId xmlns:a16="http://schemas.microsoft.com/office/drawing/2014/main" id="{E9299651-6F26-9F3F-6924-E247E5830C13}"/>
              </a:ext>
            </a:extLst>
          </p:cNvPr>
          <p:cNvSpPr>
            <a:spLocks noGrp="1"/>
          </p:cNvSpPr>
          <p:nvPr>
            <p:ph type="title"/>
          </p:nvPr>
        </p:nvSpPr>
        <p:spPr>
          <a:xfrm>
            <a:off x="278695" y="57175"/>
            <a:ext cx="9922400" cy="585664"/>
          </a:xfrm>
        </p:spPr>
        <p:txBody>
          <a:bodyPr/>
          <a:lstStyle/>
          <a:p>
            <a:r>
              <a:rPr lang="en-GB" sz="3600" kern="1200" dirty="0">
                <a:latin typeface="GT Ultra Median Lloyds Regular" pitchFamily="50" charset="0"/>
                <a:cs typeface="+mj-cs"/>
              </a:rPr>
              <a:t>What is Targeted Support?</a:t>
            </a:r>
          </a:p>
        </p:txBody>
      </p:sp>
      <p:sp>
        <p:nvSpPr>
          <p:cNvPr id="4" name="TextBox 3">
            <a:extLst>
              <a:ext uri="{FF2B5EF4-FFF2-40B4-BE49-F238E27FC236}">
                <a16:creationId xmlns:a16="http://schemas.microsoft.com/office/drawing/2014/main" id="{0FCF1A0A-F404-59D1-32EB-56A4640DBB32}"/>
              </a:ext>
            </a:extLst>
          </p:cNvPr>
          <p:cNvSpPr txBox="1"/>
          <p:nvPr/>
        </p:nvSpPr>
        <p:spPr>
          <a:xfrm>
            <a:off x="278695" y="601902"/>
            <a:ext cx="11675705" cy="565146"/>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GT Ultra Lloyds Regular" pitchFamily="50" charset="0"/>
                <a:ea typeface="+mn-ea"/>
                <a:cs typeface="+mn-cs"/>
              </a:rPr>
              <a:t>Targeted Support is the FCA’s new framework, intended to bridge the gap between holistic advice and guidance - specifically for investments and pensions.  The FCA is targeting an April 2026 go-live date</a:t>
            </a:r>
          </a:p>
        </p:txBody>
      </p:sp>
      <p:sp>
        <p:nvSpPr>
          <p:cNvPr id="5" name="Rounded Rectangle 4">
            <a:extLst>
              <a:ext uri="{FF2B5EF4-FFF2-40B4-BE49-F238E27FC236}">
                <a16:creationId xmlns:a16="http://schemas.microsoft.com/office/drawing/2014/main" id="{CD58CA60-FDEC-BF78-E5F3-54388669E4B6}"/>
              </a:ext>
              <a:ext uri="{C183D7F6-B498-43B3-948B-1728B52AA6E4}">
                <adec:decorative xmlns:adec="http://schemas.microsoft.com/office/drawing/2017/decorative" val="0"/>
              </a:ext>
            </a:extLst>
          </p:cNvPr>
          <p:cNvSpPr/>
          <p:nvPr/>
        </p:nvSpPr>
        <p:spPr>
          <a:xfrm>
            <a:off x="237600" y="4250285"/>
            <a:ext cx="3167679" cy="2495397"/>
          </a:xfrm>
          <a:prstGeom prst="roundRect">
            <a:avLst>
              <a:gd name="adj" fmla="val 5509"/>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GT Ultra Median Lloyds Regular" pitchFamily="2" charset="77"/>
                <a:ea typeface="+mn-ea"/>
                <a:cs typeface="+mn-cs"/>
              </a:rPr>
              <a:t>Pre-defined situ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rgbClr val="000000"/>
              </a:solidFill>
              <a:effectLst/>
              <a:uLnTx/>
              <a:uFillTx/>
              <a:latin typeface="GT Ultra Median Lloyds Regular" pitchFamily="2" charset="77"/>
              <a:ea typeface="+mn-ea"/>
              <a:cs typeface="+mn-cs"/>
            </a:endParaRP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GT Ultra Lloyds Light"/>
                <a:ea typeface="+mn-ea"/>
                <a:cs typeface="+mn-cs"/>
              </a:rPr>
              <a:t>Firms would identify specific situations where additional support could result in better customer outcomes. </a:t>
            </a: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endParaRPr kumimoji="0" lang="en-GB" sz="1200" b="0" i="0" u="none" strike="noStrike" kern="0" cap="none" spc="0" normalizeH="0" baseline="0" noProof="0">
              <a:ln>
                <a:noFill/>
              </a:ln>
              <a:solidFill>
                <a:srgbClr val="000000"/>
              </a:solidFill>
              <a:effectLst/>
              <a:uLnTx/>
              <a:uFillTx/>
              <a:latin typeface="GT Ultra Lloyds Light"/>
              <a:ea typeface="+mn-ea"/>
              <a:cs typeface="+mn-cs"/>
            </a:endParaRP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GT Ultra Lloyds Light"/>
                <a:ea typeface="+mn-ea"/>
                <a:cs typeface="+mn-cs"/>
              </a:rPr>
              <a:t>For example, customers keeping excess cash in savings rather than investments, or paying high investment fund charges.</a:t>
            </a: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endParaRPr kumimoji="0" lang="en-GB" sz="1200" b="0" i="0" u="none" strike="noStrike" kern="0" cap="none" spc="0" normalizeH="0" baseline="0" noProof="0">
              <a:ln>
                <a:noFill/>
              </a:ln>
              <a:solidFill>
                <a:srgbClr val="000000"/>
              </a:solidFill>
              <a:effectLst/>
              <a:uLnTx/>
              <a:uFillTx/>
              <a:latin typeface="GT Ultra Lloyds Light"/>
              <a:ea typeface="+mn-ea"/>
              <a:cs typeface="+mn-cs"/>
            </a:endParaRPr>
          </a:p>
        </p:txBody>
      </p:sp>
      <p:sp>
        <p:nvSpPr>
          <p:cNvPr id="6" name="Rounded Rectangle 6">
            <a:extLst>
              <a:ext uri="{FF2B5EF4-FFF2-40B4-BE49-F238E27FC236}">
                <a16:creationId xmlns:a16="http://schemas.microsoft.com/office/drawing/2014/main" id="{4BC8EFCB-D106-67C0-BE24-3F6D778D338A}"/>
              </a:ext>
            </a:extLst>
          </p:cNvPr>
          <p:cNvSpPr/>
          <p:nvPr/>
        </p:nvSpPr>
        <p:spPr>
          <a:xfrm>
            <a:off x="3910565" y="4125580"/>
            <a:ext cx="4160519" cy="2620103"/>
          </a:xfrm>
          <a:prstGeom prst="roundRect">
            <a:avLst>
              <a:gd name="adj" fmla="val 4278"/>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T Ultra Median Lloyds Regular" pitchFamily="2" charset="77"/>
                <a:ea typeface="+mn-ea"/>
                <a:cs typeface="+mn-cs"/>
              </a:rPr>
              <a:t>Customer segmen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GT Ultra Median Lloyds Regular" pitchFamily="2"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rPr>
              <a:t>Firms would classify groups of consumers with common characteristics within the situations to receive TS. The FCA leaves it up to firms to define their own granularity of seg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rPr>
              <a:t>Additional data informing the segmentation can be captured through the TS journ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rPr>
              <a:t>TS is not optimised for the individual so might not work for 100% of people – a trade off necessary for segmentation to allow the solution to be scalab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1" i="0" u="none" strike="noStrike" kern="0" cap="none" spc="0" normalizeH="0" baseline="0" noProof="0" dirty="0">
              <a:ln>
                <a:noFill/>
              </a:ln>
              <a:solidFill>
                <a:srgbClr val="000000"/>
              </a:solidFill>
              <a:effectLst/>
              <a:uLnTx/>
              <a:uFillTx/>
              <a:latin typeface="GT Ultra Lloyds Light" pitchFamily="50" charset="0"/>
              <a:ea typeface="+mn-ea"/>
              <a:cs typeface="+mn-cs"/>
            </a:endParaRPr>
          </a:p>
        </p:txBody>
      </p:sp>
      <p:sp>
        <p:nvSpPr>
          <p:cNvPr id="8" name="Rounded Rectangle 16">
            <a:extLst>
              <a:ext uri="{FF2B5EF4-FFF2-40B4-BE49-F238E27FC236}">
                <a16:creationId xmlns:a16="http://schemas.microsoft.com/office/drawing/2014/main" id="{01A4649B-D106-A489-B25C-C6F96C08002D}"/>
              </a:ext>
              <a:ext uri="{C183D7F6-B498-43B3-948B-1728B52AA6E4}">
                <adec:decorative xmlns:adec="http://schemas.microsoft.com/office/drawing/2017/decorative" val="0"/>
              </a:ext>
            </a:extLst>
          </p:cNvPr>
          <p:cNvSpPr/>
          <p:nvPr/>
        </p:nvSpPr>
        <p:spPr>
          <a:xfrm>
            <a:off x="8549640" y="4212717"/>
            <a:ext cx="3154680" cy="2505501"/>
          </a:xfrm>
          <a:prstGeom prst="roundRect">
            <a:avLst>
              <a:gd name="adj" fmla="val 4278"/>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GT Ultra Median Lloyds Regular" pitchFamily="2" charset="77"/>
                <a:ea typeface="+mn-ea"/>
                <a:cs typeface="+mn-cs"/>
              </a:rPr>
              <a:t>Ready-made suggestions</a:t>
            </a:r>
          </a:p>
          <a:p>
            <a:pPr marL="0" marR="0" lvl="0" indent="0" algn="l" defTabSz="914400" rtl="0" eaLnBrk="1" fontAlgn="auto" latinLnBrk="0" hangingPunct="1">
              <a:lnSpc>
                <a:spcPts val="144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rPr>
              <a:t>Firms would use standardised suggestions designed to improve outcomes for the segment within the scenario. </a:t>
            </a: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rPr>
              <a:t>The same suggestion is provided to all consumers in the same segment creating a tailored but non-personalised approach.</a:t>
            </a: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171450" marR="0" lvl="0" indent="-171450" algn="l" defTabSz="914400" rtl="0" eaLnBrk="1" fontAlgn="auto" latinLnBrk="0" hangingPunct="1">
              <a:lnSpc>
                <a:spcPts val="1550"/>
              </a:lnSpc>
              <a:spcBef>
                <a:spcPts val="0"/>
              </a:spcBef>
              <a:spcAft>
                <a:spcPts val="0"/>
              </a:spcAft>
              <a:buClr>
                <a:srgbClr val="11B67A"/>
              </a:buClr>
              <a:buSzTx/>
              <a:buFont typeface="Arial" panose="020B0604020202020204" pitchFamily="34" charset="0"/>
              <a:buChar char="•"/>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0" marR="0" lvl="0" indent="0" algn="l" defTabSz="914400" rtl="0" eaLnBrk="1" fontAlgn="auto" latinLnBrk="0" hangingPunct="1">
              <a:lnSpc>
                <a:spcPts val="155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0" marR="0" lvl="0" indent="0" algn="l" defTabSz="914400" rtl="0" eaLnBrk="1" fontAlgn="auto" latinLnBrk="0" hangingPunct="1">
              <a:lnSpc>
                <a:spcPts val="155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0" marR="0" lvl="0" indent="0" algn="l" defTabSz="914400" rtl="0" eaLnBrk="1" fontAlgn="auto" latinLnBrk="0" hangingPunct="1">
              <a:lnSpc>
                <a:spcPts val="1550"/>
              </a:lnSpc>
              <a:spcBef>
                <a:spcPts val="0"/>
              </a:spcBef>
              <a:spcAft>
                <a:spcPts val="0"/>
              </a:spcAft>
              <a:buClr>
                <a:srgbClr val="FF0000"/>
              </a:buClr>
              <a:buSzTx/>
              <a:buFontTx/>
              <a:buNone/>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0" marR="0" lvl="0" indent="0" algn="l" defTabSz="914400" rtl="0" eaLnBrk="1" fontAlgn="auto" latinLnBrk="0" hangingPunct="1">
              <a:lnSpc>
                <a:spcPts val="155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a:p>
            <a:pPr marL="0" marR="0" lvl="0" indent="0" algn="l" defTabSz="914400" rtl="0" eaLnBrk="1" fontAlgn="auto" latinLnBrk="0" hangingPunct="1">
              <a:lnSpc>
                <a:spcPts val="155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GT Ultra Lloyds Light" pitchFamily="50" charset="0"/>
              <a:ea typeface="+mn-ea"/>
              <a:cs typeface="+mn-cs"/>
            </a:endParaRPr>
          </a:p>
        </p:txBody>
      </p:sp>
      <p:sp>
        <p:nvSpPr>
          <p:cNvPr id="12" name="Rectangle: Rounded Corners 11">
            <a:extLst>
              <a:ext uri="{FF2B5EF4-FFF2-40B4-BE49-F238E27FC236}">
                <a16:creationId xmlns:a16="http://schemas.microsoft.com/office/drawing/2014/main" id="{53330B1D-C48D-B43D-F934-325DFEF5ED8D}"/>
              </a:ext>
            </a:extLst>
          </p:cNvPr>
          <p:cNvSpPr/>
          <p:nvPr/>
        </p:nvSpPr>
        <p:spPr>
          <a:xfrm>
            <a:off x="3405279" y="1322215"/>
            <a:ext cx="5144361" cy="389186"/>
          </a:xfrm>
          <a:prstGeom prst="roundRect">
            <a:avLst/>
          </a:prstGeom>
          <a:solidFill>
            <a:schemeClr val="accent1"/>
          </a:solidFill>
          <a:ln>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T Ultra Lloyds Light" pitchFamily="50" charset="0"/>
                <a:ea typeface="+mn-ea"/>
                <a:cs typeface="+mn-cs"/>
              </a:rPr>
              <a:t>Targeted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T Ultra Lloyds Light" pitchFamily="50" charset="0"/>
                <a:ea typeface="+mn-ea"/>
                <a:cs typeface="+mn-cs"/>
              </a:rPr>
              <a:t>Retail investments &amp; Pensions only</a:t>
            </a:r>
            <a:endParaRPr kumimoji="0" lang="en-GB" sz="1600" b="1" i="0" u="none" strike="noStrike" kern="1200" cap="none" spc="0" normalizeH="0" baseline="0" noProof="0" dirty="0">
              <a:ln>
                <a:noFill/>
              </a:ln>
              <a:solidFill>
                <a:srgbClr val="000000"/>
              </a:solidFill>
              <a:effectLst/>
              <a:uLnTx/>
              <a:uFillTx/>
              <a:latin typeface="GT Ultra Lloyds Light" pitchFamily="50" charset="0"/>
              <a:ea typeface="+mn-ea"/>
              <a:cs typeface="+mn-cs"/>
            </a:endParaRPr>
          </a:p>
        </p:txBody>
      </p:sp>
      <p:sp>
        <p:nvSpPr>
          <p:cNvPr id="19" name="TextBox 18">
            <a:extLst>
              <a:ext uri="{FF2B5EF4-FFF2-40B4-BE49-F238E27FC236}">
                <a16:creationId xmlns:a16="http://schemas.microsoft.com/office/drawing/2014/main" id="{166EE2EE-A6E1-3CAC-648C-9E03862F17C5}"/>
              </a:ext>
            </a:extLst>
          </p:cNvPr>
          <p:cNvSpPr txBox="1"/>
          <p:nvPr/>
        </p:nvSpPr>
        <p:spPr>
          <a:xfrm>
            <a:off x="2894970" y="3936125"/>
            <a:ext cx="6556248" cy="277888"/>
          </a:xfrm>
          <a:prstGeom prst="rect">
            <a:avLst/>
          </a:prstGeom>
          <a:solidFill>
            <a:schemeClr val="bg1"/>
          </a:solidFill>
          <a:ln w="19050">
            <a:solidFill>
              <a:schemeClr val="accent1"/>
            </a:solidFill>
          </a:ln>
        </p:spPr>
        <p:txBody>
          <a:bodyPr wrap="square" lIns="36000" tIns="36000" rIns="36000" bIns="36000"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GT Ultra Median Lloyds Regular" pitchFamily="2" charset="77"/>
                <a:ea typeface="+mn-ea"/>
                <a:cs typeface="+mn-cs"/>
              </a:rPr>
              <a:t>The 3 key elements of Targeted Support</a:t>
            </a:r>
          </a:p>
        </p:txBody>
      </p:sp>
      <p:sp>
        <p:nvSpPr>
          <p:cNvPr id="10" name="Rectangle: Rounded Corners 9">
            <a:extLst>
              <a:ext uri="{FF2B5EF4-FFF2-40B4-BE49-F238E27FC236}">
                <a16:creationId xmlns:a16="http://schemas.microsoft.com/office/drawing/2014/main" id="{1AB22998-3131-8AF6-C721-75DF1DEEBD8D}"/>
              </a:ext>
            </a:extLst>
          </p:cNvPr>
          <p:cNvSpPr/>
          <p:nvPr/>
        </p:nvSpPr>
        <p:spPr>
          <a:xfrm>
            <a:off x="1192386" y="1951807"/>
            <a:ext cx="1993392" cy="185378"/>
          </a:xfrm>
          <a:prstGeom prst="roundRect">
            <a:avLst/>
          </a:prstGeom>
          <a:noFill/>
          <a:ln w="1270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Generic</a:t>
            </a:r>
          </a:p>
        </p:txBody>
      </p:sp>
      <p:sp>
        <p:nvSpPr>
          <p:cNvPr id="14" name="Rectangle: Rounded Corners 13">
            <a:extLst>
              <a:ext uri="{FF2B5EF4-FFF2-40B4-BE49-F238E27FC236}">
                <a16:creationId xmlns:a16="http://schemas.microsoft.com/office/drawing/2014/main" id="{69ADE031-E82B-0A45-46C3-420920845CC9}"/>
              </a:ext>
            </a:extLst>
          </p:cNvPr>
          <p:cNvSpPr/>
          <p:nvPr/>
        </p:nvSpPr>
        <p:spPr>
          <a:xfrm>
            <a:off x="4405221" y="1959871"/>
            <a:ext cx="3600000" cy="223633"/>
          </a:xfrm>
          <a:prstGeom prst="round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Targeted not personalised</a:t>
            </a:r>
          </a:p>
        </p:txBody>
      </p:sp>
      <p:sp>
        <p:nvSpPr>
          <p:cNvPr id="15" name="Rectangle: Rounded Corners 14">
            <a:extLst>
              <a:ext uri="{FF2B5EF4-FFF2-40B4-BE49-F238E27FC236}">
                <a16:creationId xmlns:a16="http://schemas.microsoft.com/office/drawing/2014/main" id="{FAFFCBDE-1E50-833E-40FE-158BE74A4390}"/>
              </a:ext>
            </a:extLst>
          </p:cNvPr>
          <p:cNvSpPr/>
          <p:nvPr/>
        </p:nvSpPr>
        <p:spPr>
          <a:xfrm>
            <a:off x="8986203" y="1956113"/>
            <a:ext cx="2113304" cy="178250"/>
          </a:xfrm>
          <a:prstGeom prst="roundRect">
            <a:avLst/>
          </a:prstGeom>
          <a:noFill/>
          <a:ln w="127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GT Ultra Lloyds Light" pitchFamily="50" charset="0"/>
                <a:ea typeface="+mn-ea"/>
                <a:cs typeface="+mn-cs"/>
              </a:rPr>
              <a:t>Holistic &amp; personalised</a:t>
            </a:r>
          </a:p>
        </p:txBody>
      </p:sp>
      <p:sp>
        <p:nvSpPr>
          <p:cNvPr id="16" name="Rectangle: Rounded Corners 15">
            <a:extLst>
              <a:ext uri="{FF2B5EF4-FFF2-40B4-BE49-F238E27FC236}">
                <a16:creationId xmlns:a16="http://schemas.microsoft.com/office/drawing/2014/main" id="{68893FFB-AE78-E72D-7888-270946D5F7AE}"/>
              </a:ext>
            </a:extLst>
          </p:cNvPr>
          <p:cNvSpPr/>
          <p:nvPr/>
        </p:nvSpPr>
        <p:spPr>
          <a:xfrm>
            <a:off x="1192386" y="2260195"/>
            <a:ext cx="1993392" cy="185378"/>
          </a:xfrm>
          <a:prstGeom prst="roundRect">
            <a:avLst/>
          </a:prstGeom>
          <a:noFill/>
          <a:ln w="1270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GT Ultra Lloyds Light" pitchFamily="50" charset="0"/>
                <a:ea typeface="+mn-ea"/>
                <a:cs typeface="+mn-cs"/>
              </a:rPr>
              <a:t>Individual &amp; Group</a:t>
            </a:r>
          </a:p>
        </p:txBody>
      </p:sp>
      <p:sp>
        <p:nvSpPr>
          <p:cNvPr id="17" name="Rectangle: Rounded Corners 16">
            <a:extLst>
              <a:ext uri="{FF2B5EF4-FFF2-40B4-BE49-F238E27FC236}">
                <a16:creationId xmlns:a16="http://schemas.microsoft.com/office/drawing/2014/main" id="{D3E22100-F51B-FEED-46CE-0E969962D77B}"/>
              </a:ext>
            </a:extLst>
          </p:cNvPr>
          <p:cNvSpPr/>
          <p:nvPr/>
        </p:nvSpPr>
        <p:spPr>
          <a:xfrm>
            <a:off x="4405221" y="2272040"/>
            <a:ext cx="3600000" cy="173533"/>
          </a:xfrm>
          <a:prstGeom prst="round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Group</a:t>
            </a:r>
          </a:p>
        </p:txBody>
      </p:sp>
      <p:sp>
        <p:nvSpPr>
          <p:cNvPr id="18" name="Rectangle: Rounded Corners 17">
            <a:extLst>
              <a:ext uri="{FF2B5EF4-FFF2-40B4-BE49-F238E27FC236}">
                <a16:creationId xmlns:a16="http://schemas.microsoft.com/office/drawing/2014/main" id="{49CD5FBD-7B96-92EB-E3A4-D6FF0F6C5990}"/>
              </a:ext>
            </a:extLst>
          </p:cNvPr>
          <p:cNvSpPr/>
          <p:nvPr/>
        </p:nvSpPr>
        <p:spPr>
          <a:xfrm>
            <a:off x="8986203" y="2272041"/>
            <a:ext cx="2113304" cy="156193"/>
          </a:xfrm>
          <a:prstGeom prst="roundRect">
            <a:avLst/>
          </a:prstGeom>
          <a:noFill/>
          <a:ln w="127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Individual</a:t>
            </a:r>
          </a:p>
        </p:txBody>
      </p:sp>
      <p:sp>
        <p:nvSpPr>
          <p:cNvPr id="20" name="Rectangle: Rounded Corners 19">
            <a:extLst>
              <a:ext uri="{FF2B5EF4-FFF2-40B4-BE49-F238E27FC236}">
                <a16:creationId xmlns:a16="http://schemas.microsoft.com/office/drawing/2014/main" id="{D6E49A01-035D-3115-C557-0461006D425E}"/>
              </a:ext>
            </a:extLst>
          </p:cNvPr>
          <p:cNvSpPr/>
          <p:nvPr/>
        </p:nvSpPr>
        <p:spPr>
          <a:xfrm>
            <a:off x="1192386" y="2543283"/>
            <a:ext cx="6812835" cy="214094"/>
          </a:xfrm>
          <a:prstGeom prst="round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Final decision customer led</a:t>
            </a:r>
          </a:p>
        </p:txBody>
      </p:sp>
      <p:sp>
        <p:nvSpPr>
          <p:cNvPr id="22" name="Rectangle: Rounded Corners 21">
            <a:extLst>
              <a:ext uri="{FF2B5EF4-FFF2-40B4-BE49-F238E27FC236}">
                <a16:creationId xmlns:a16="http://schemas.microsoft.com/office/drawing/2014/main" id="{C59EA814-A7F5-53C4-4728-AB8431AD74B1}"/>
              </a:ext>
            </a:extLst>
          </p:cNvPr>
          <p:cNvSpPr/>
          <p:nvPr/>
        </p:nvSpPr>
        <p:spPr>
          <a:xfrm>
            <a:off x="8986203" y="2530514"/>
            <a:ext cx="2113304" cy="185378"/>
          </a:xfrm>
          <a:prstGeom prst="roundRect">
            <a:avLst/>
          </a:prstGeom>
          <a:noFill/>
          <a:ln w="12700">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Final decision adviser led</a:t>
            </a:r>
          </a:p>
        </p:txBody>
      </p:sp>
      <p:sp>
        <p:nvSpPr>
          <p:cNvPr id="7" name="Rectangle: Rounded Corners 6">
            <a:extLst>
              <a:ext uri="{FF2B5EF4-FFF2-40B4-BE49-F238E27FC236}">
                <a16:creationId xmlns:a16="http://schemas.microsoft.com/office/drawing/2014/main" id="{42761B06-B76B-25EA-23D6-47F8776F73BC}"/>
              </a:ext>
            </a:extLst>
          </p:cNvPr>
          <p:cNvSpPr/>
          <p:nvPr/>
        </p:nvSpPr>
        <p:spPr>
          <a:xfrm>
            <a:off x="4405222" y="2860437"/>
            <a:ext cx="6694286" cy="173532"/>
          </a:xfrm>
          <a:prstGeom prst="round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Has FCA regime</a:t>
            </a:r>
          </a:p>
        </p:txBody>
      </p:sp>
      <p:sp>
        <p:nvSpPr>
          <p:cNvPr id="11" name="Rectangle: Rounded Corners 10">
            <a:extLst>
              <a:ext uri="{FF2B5EF4-FFF2-40B4-BE49-F238E27FC236}">
                <a16:creationId xmlns:a16="http://schemas.microsoft.com/office/drawing/2014/main" id="{6A7D6365-64F1-7876-F180-0E29C82FB682}"/>
              </a:ext>
            </a:extLst>
          </p:cNvPr>
          <p:cNvSpPr/>
          <p:nvPr/>
        </p:nvSpPr>
        <p:spPr>
          <a:xfrm>
            <a:off x="1192386" y="2817197"/>
            <a:ext cx="1993392" cy="185378"/>
          </a:xfrm>
          <a:prstGeom prst="roundRect">
            <a:avLst/>
          </a:prstGeom>
          <a:noFill/>
          <a:ln w="1270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No FCA regime</a:t>
            </a:r>
          </a:p>
        </p:txBody>
      </p:sp>
      <p:sp>
        <p:nvSpPr>
          <p:cNvPr id="13" name="Rectangle 12">
            <a:extLst>
              <a:ext uri="{FF2B5EF4-FFF2-40B4-BE49-F238E27FC236}">
                <a16:creationId xmlns:a16="http://schemas.microsoft.com/office/drawing/2014/main" id="{05856A67-196D-E485-AB6B-8D4C85229BFD}"/>
              </a:ext>
            </a:extLst>
          </p:cNvPr>
          <p:cNvSpPr/>
          <p:nvPr/>
        </p:nvSpPr>
        <p:spPr>
          <a:xfrm>
            <a:off x="397567" y="3143027"/>
            <a:ext cx="3020922" cy="781428"/>
          </a:xfrm>
          <a:prstGeom prst="rect">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GT Ultra Lloyds Light" pitchFamily="50" charset="0"/>
                <a:ea typeface="+mn-ea"/>
                <a:cs typeface="+mn-cs"/>
              </a:rPr>
              <a:t>People like you invest in simple funds like ready ma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GT Ultra Lloyds Light" pitchFamily="50" charset="0"/>
                <a:ea typeface="+mn-ea"/>
                <a:cs typeface="+mn-cs"/>
              </a:rPr>
              <a:t>You choose the fund and the amount and we do the rest, try our tools to dec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GT Ultra Lloyds Light" pitchFamily="50" charset="0"/>
                <a:ea typeface="+mn-ea"/>
                <a:cs typeface="+mn-cs"/>
              </a:rPr>
              <a:t>Give your money the chance to grow, choose the investment that matches your go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GT Ultra Lloyds Light" pitchFamily="50" charset="0"/>
                <a:ea typeface="+mn-ea"/>
                <a:cs typeface="+mn-cs"/>
              </a:rPr>
              <a:t>Product information provides criteria to consider</a:t>
            </a:r>
            <a:endParaRPr kumimoji="0" lang="en-GB" sz="1200" b="0" i="0" u="none" strike="noStrike" kern="1200" cap="none" spc="0" normalizeH="0" baseline="0" noProof="0">
              <a:ln>
                <a:noFill/>
              </a:ln>
              <a:solidFill>
                <a:srgbClr val="000000"/>
              </a:solidFill>
              <a:effectLst/>
              <a:uLnTx/>
              <a:uFillTx/>
              <a:latin typeface="GT Ultra Lloyds Light" pitchFamily="50" charset="0"/>
              <a:ea typeface="+mn-ea"/>
              <a:cs typeface="+mn-cs"/>
            </a:endParaRPr>
          </a:p>
        </p:txBody>
      </p:sp>
      <p:sp>
        <p:nvSpPr>
          <p:cNvPr id="21" name="Rectangle 20">
            <a:extLst>
              <a:ext uri="{FF2B5EF4-FFF2-40B4-BE49-F238E27FC236}">
                <a16:creationId xmlns:a16="http://schemas.microsoft.com/office/drawing/2014/main" id="{50EAF6C7-B35C-0A56-C530-787710D69B7F}"/>
              </a:ext>
            </a:extLst>
          </p:cNvPr>
          <p:cNvSpPr/>
          <p:nvPr/>
        </p:nvSpPr>
        <p:spPr>
          <a:xfrm>
            <a:off x="3479800" y="3130327"/>
            <a:ext cx="4876799" cy="71316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srgbClr val="FFFFFF"/>
                </a:solidFill>
                <a:effectLst/>
                <a:uLnTx/>
                <a:uFillTx/>
                <a:latin typeface="GT Ultra Lloyds Light" pitchFamily="50" charset="0"/>
                <a:ea typeface="+mn-ea"/>
                <a:cs typeface="+mn-cs"/>
              </a:rPr>
              <a:t>Based on what we know we suggest – ISA, MGF 4 and £500 to make your money gr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srgbClr val="FFFFFF"/>
                </a:solidFill>
                <a:effectLst/>
                <a:uLnTx/>
                <a:uFillTx/>
                <a:latin typeface="GT Ultra Lloyds Light" pitchFamily="50" charset="0"/>
                <a:ea typeface="+mn-ea"/>
                <a:cs typeface="+mn-cs"/>
              </a:rPr>
              <a:t>Data must be accurate and assumptions made must be replayed to the custo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srgbClr val="FFFFFF"/>
                </a:solidFill>
                <a:effectLst/>
                <a:uLnTx/>
                <a:uFillTx/>
                <a:latin typeface="GT Ultra Lloyds Light" pitchFamily="50" charset="0"/>
                <a:ea typeface="+mn-ea"/>
                <a:cs typeface="+mn-cs"/>
              </a:rPr>
              <a:t>Transparent that the suggestion is not personalised but provided as part of a wider cohort with similar characteris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srgbClr val="FFFFFF"/>
                </a:solidFill>
                <a:effectLst/>
                <a:uLnTx/>
                <a:uFillTx/>
                <a:latin typeface="GT Ultra Lloyds Light" pitchFamily="50" charset="0"/>
                <a:ea typeface="+mn-ea"/>
                <a:cs typeface="+mn-cs"/>
              </a:rPr>
              <a:t>TS is not providing a menu of choice for the customer to select but a pre-determined outcome</a:t>
            </a:r>
          </a:p>
        </p:txBody>
      </p:sp>
      <p:sp>
        <p:nvSpPr>
          <p:cNvPr id="23" name="Rectangle 22">
            <a:extLst>
              <a:ext uri="{FF2B5EF4-FFF2-40B4-BE49-F238E27FC236}">
                <a16:creationId xmlns:a16="http://schemas.microsoft.com/office/drawing/2014/main" id="{1CA796F0-DBAC-0240-7F5A-E91C96673D30}"/>
              </a:ext>
            </a:extLst>
          </p:cNvPr>
          <p:cNvSpPr/>
          <p:nvPr/>
        </p:nvSpPr>
        <p:spPr>
          <a:xfrm>
            <a:off x="8454072" y="3117362"/>
            <a:ext cx="3202529" cy="47894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GT Ultra Lloyds Light" pitchFamily="50" charset="0"/>
                <a:ea typeface="+mn-ea"/>
                <a:cs typeface="+mn-cs"/>
              </a:rPr>
              <a:t>Based on your personal situation we recommend you invest £500 in ISA and MGF4 having taken into consideration your full financial picture </a:t>
            </a:r>
          </a:p>
        </p:txBody>
      </p:sp>
      <p:sp>
        <p:nvSpPr>
          <p:cNvPr id="25" name="Speech Bubble: Rectangle with Corners Rounded 24">
            <a:extLst>
              <a:ext uri="{FF2B5EF4-FFF2-40B4-BE49-F238E27FC236}">
                <a16:creationId xmlns:a16="http://schemas.microsoft.com/office/drawing/2014/main" id="{76604648-AA4B-D5B3-8CD6-2CD00659253F}"/>
              </a:ext>
            </a:extLst>
          </p:cNvPr>
          <p:cNvSpPr/>
          <p:nvPr/>
        </p:nvSpPr>
        <p:spPr>
          <a:xfrm>
            <a:off x="50967" y="2860437"/>
            <a:ext cx="934779" cy="239471"/>
          </a:xfrm>
          <a:prstGeom prst="wedgeRoundRectCallout">
            <a:avLst>
              <a:gd name="adj1" fmla="val -5694"/>
              <a:gd name="adj2" fmla="val 81803"/>
              <a:gd name="adj3" fmla="val 1666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GT Ultra Lloyds Light" pitchFamily="50" charset="0"/>
                <a:ea typeface="+mn-ea"/>
                <a:cs typeface="+mn-cs"/>
              </a:rPr>
              <a:t>Examples</a:t>
            </a:r>
          </a:p>
        </p:txBody>
      </p:sp>
      <p:sp>
        <p:nvSpPr>
          <p:cNvPr id="3" name="Star: 5 Points 2">
            <a:extLst>
              <a:ext uri="{FF2B5EF4-FFF2-40B4-BE49-F238E27FC236}">
                <a16:creationId xmlns:a16="http://schemas.microsoft.com/office/drawing/2014/main" id="{9D37CEEA-0A2D-0861-D81E-7D0E54280AFF}"/>
              </a:ext>
            </a:extLst>
          </p:cNvPr>
          <p:cNvSpPr/>
          <p:nvPr/>
        </p:nvSpPr>
        <p:spPr>
          <a:xfrm>
            <a:off x="8024003" y="1320770"/>
            <a:ext cx="962200" cy="882377"/>
          </a:xfrm>
          <a:prstGeom prst="star5">
            <a:avLst/>
          </a:prstGeom>
        </p:spPr>
        <p:style>
          <a:lnRef idx="3">
            <a:schemeClr val="lt1"/>
          </a:lnRef>
          <a:fillRef idx="1">
            <a:schemeClr val="accent4"/>
          </a:fillRef>
          <a:effectRef idx="1">
            <a:schemeClr val="accent4"/>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FFFFFF"/>
                </a:solidFill>
                <a:effectLst/>
                <a:uLnTx/>
                <a:uFillTx/>
                <a:latin typeface="GT Ultra Lloyds Light" pitchFamily="50" charset="0"/>
                <a:ea typeface="+mn-ea"/>
                <a:cs typeface="+mn-cs"/>
              </a:rPr>
              <a:t>Simplified advice TBC</a:t>
            </a:r>
          </a:p>
        </p:txBody>
      </p:sp>
    </p:spTree>
    <p:extLst>
      <p:ext uri="{BB962C8B-B14F-4D97-AF65-F5344CB8AC3E}">
        <p14:creationId xmlns:p14="http://schemas.microsoft.com/office/powerpoint/2010/main" val="2143176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55006-8DED-AA29-3BB3-F3D9ED1310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D04982-7590-1AB5-5F9B-41BEC777103A}"/>
              </a:ext>
            </a:extLst>
          </p:cNvPr>
          <p:cNvSpPr>
            <a:spLocks noGrp="1"/>
          </p:cNvSpPr>
          <p:nvPr>
            <p:ph type="title"/>
          </p:nvPr>
        </p:nvSpPr>
        <p:spPr>
          <a:xfrm>
            <a:off x="278695" y="57175"/>
            <a:ext cx="9922400" cy="585664"/>
          </a:xfrm>
        </p:spPr>
        <p:txBody>
          <a:bodyPr/>
          <a:lstStyle/>
          <a:p>
            <a:r>
              <a:rPr lang="en-GB" sz="3600" kern="1200" dirty="0">
                <a:latin typeface="GT Ultra Median Lloyds Regular" pitchFamily="50" charset="0"/>
                <a:cs typeface="+mj-cs"/>
              </a:rPr>
              <a:t>Future Decision-Making Support Continuum </a:t>
            </a:r>
          </a:p>
        </p:txBody>
      </p:sp>
      <p:graphicFrame>
        <p:nvGraphicFramePr>
          <p:cNvPr id="9" name="Table 8">
            <a:extLst>
              <a:ext uri="{FF2B5EF4-FFF2-40B4-BE49-F238E27FC236}">
                <a16:creationId xmlns:a16="http://schemas.microsoft.com/office/drawing/2014/main" id="{3CD8A580-6A44-4017-1058-A7A234D2D827}"/>
              </a:ext>
            </a:extLst>
          </p:cNvPr>
          <p:cNvGraphicFramePr>
            <a:graphicFrameLocks noGrp="1"/>
          </p:cNvGraphicFramePr>
          <p:nvPr/>
        </p:nvGraphicFramePr>
        <p:xfrm>
          <a:off x="407990" y="939122"/>
          <a:ext cx="11140884" cy="5640940"/>
        </p:xfrm>
        <a:graphic>
          <a:graphicData uri="http://schemas.openxmlformats.org/drawingml/2006/table">
            <a:tbl>
              <a:tblPr firstRow="1" bandRow="1">
                <a:tableStyleId>{5C22544A-7EE6-4342-B048-85BDC9FD1C3A}</a:tableStyleId>
              </a:tblPr>
              <a:tblGrid>
                <a:gridCol w="3706810">
                  <a:extLst>
                    <a:ext uri="{9D8B030D-6E8A-4147-A177-3AD203B41FA5}">
                      <a16:colId xmlns:a16="http://schemas.microsoft.com/office/drawing/2014/main" val="2623825303"/>
                    </a:ext>
                  </a:extLst>
                </a:gridCol>
                <a:gridCol w="2350008">
                  <a:extLst>
                    <a:ext uri="{9D8B030D-6E8A-4147-A177-3AD203B41FA5}">
                      <a16:colId xmlns:a16="http://schemas.microsoft.com/office/drawing/2014/main" val="3862406211"/>
                    </a:ext>
                  </a:extLst>
                </a:gridCol>
                <a:gridCol w="2578608">
                  <a:extLst>
                    <a:ext uri="{9D8B030D-6E8A-4147-A177-3AD203B41FA5}">
                      <a16:colId xmlns:a16="http://schemas.microsoft.com/office/drawing/2014/main" val="3493532855"/>
                    </a:ext>
                  </a:extLst>
                </a:gridCol>
                <a:gridCol w="2505458">
                  <a:extLst>
                    <a:ext uri="{9D8B030D-6E8A-4147-A177-3AD203B41FA5}">
                      <a16:colId xmlns:a16="http://schemas.microsoft.com/office/drawing/2014/main" val="3656227673"/>
                    </a:ext>
                  </a:extLst>
                </a:gridCol>
              </a:tblGrid>
              <a:tr h="776748">
                <a:tc>
                  <a:txBody>
                    <a:bodyPr/>
                    <a:lstStyle/>
                    <a:p>
                      <a:endParaRPr lang="en-GB"/>
                    </a:p>
                  </a:txBody>
                  <a:tcPr/>
                </a:tc>
                <a:tc>
                  <a:txBody>
                    <a:bodyPr/>
                    <a:lstStyle/>
                    <a:p>
                      <a:pPr algn="ctr"/>
                      <a:r>
                        <a:rPr lang="en-GB" sz="2800" dirty="0"/>
                        <a:t>Targeted Support</a:t>
                      </a:r>
                    </a:p>
                  </a:txBody>
                  <a:tcPr/>
                </a:tc>
                <a:tc>
                  <a:txBody>
                    <a:bodyPr/>
                    <a:lstStyle/>
                    <a:p>
                      <a:pPr algn="ctr"/>
                      <a:r>
                        <a:rPr lang="en-GB" sz="2800" dirty="0"/>
                        <a:t>Simplified Advice</a:t>
                      </a:r>
                    </a:p>
                  </a:txBody>
                  <a:tcPr/>
                </a:tc>
                <a:tc>
                  <a:txBody>
                    <a:bodyPr/>
                    <a:lstStyle/>
                    <a:p>
                      <a:pPr algn="ctr"/>
                      <a:r>
                        <a:rPr lang="en-GB" sz="2800" dirty="0"/>
                        <a:t>Full          Advice</a:t>
                      </a:r>
                    </a:p>
                  </a:txBody>
                  <a:tcPr/>
                </a:tc>
                <a:extLst>
                  <a:ext uri="{0D108BD9-81ED-4DB2-BD59-A6C34878D82A}">
                    <a16:rowId xmlns:a16="http://schemas.microsoft.com/office/drawing/2014/main" val="1518142282"/>
                  </a:ext>
                </a:extLst>
              </a:tr>
              <a:tr h="776748">
                <a:tc>
                  <a:txBody>
                    <a:bodyPr/>
                    <a:lstStyle/>
                    <a:p>
                      <a:pPr algn="ctr"/>
                      <a:r>
                        <a:rPr lang="en-GB" sz="2400" b="1" dirty="0"/>
                        <a:t>Specific V Holistic</a:t>
                      </a:r>
                    </a:p>
                  </a:txBody>
                  <a:tcPr/>
                </a:tc>
                <a:tc>
                  <a:txBody>
                    <a:bodyPr/>
                    <a:lstStyle/>
                    <a:p>
                      <a:pPr algn="ctr"/>
                      <a:r>
                        <a:rPr lang="en-GB" sz="2000" b="1" dirty="0">
                          <a:solidFill>
                            <a:schemeClr val="accent3">
                              <a:lumMod val="25000"/>
                            </a:schemeClr>
                          </a:solidFill>
                        </a:rPr>
                        <a:t>Specific</a:t>
                      </a:r>
                    </a:p>
                  </a:txBody>
                  <a:tcPr/>
                </a:tc>
                <a:tc>
                  <a:txBody>
                    <a:bodyPr/>
                    <a:lstStyle/>
                    <a:p>
                      <a:pPr algn="ctr"/>
                      <a:r>
                        <a:rPr lang="en-GB" sz="2000" b="1" dirty="0">
                          <a:solidFill>
                            <a:schemeClr val="accent3">
                              <a:lumMod val="25000"/>
                            </a:schemeClr>
                          </a:solidFill>
                        </a:rPr>
                        <a:t>Specific</a:t>
                      </a:r>
                    </a:p>
                  </a:txBody>
                  <a:tcPr/>
                </a:tc>
                <a:tc>
                  <a:txBody>
                    <a:bodyPr/>
                    <a:lstStyle/>
                    <a:p>
                      <a:pPr algn="ctr"/>
                      <a:r>
                        <a:rPr lang="en-GB" sz="2000" b="1" dirty="0">
                          <a:solidFill>
                            <a:schemeClr val="accent3">
                              <a:lumMod val="25000"/>
                            </a:schemeClr>
                          </a:solidFill>
                        </a:rPr>
                        <a:t>Holistic</a:t>
                      </a:r>
                    </a:p>
                  </a:txBody>
                  <a:tcPr/>
                </a:tc>
                <a:extLst>
                  <a:ext uri="{0D108BD9-81ED-4DB2-BD59-A6C34878D82A}">
                    <a16:rowId xmlns:a16="http://schemas.microsoft.com/office/drawing/2014/main" val="2905024428"/>
                  </a:ext>
                </a:extLst>
              </a:tr>
              <a:tr h="776748">
                <a:tc>
                  <a:txBody>
                    <a:bodyPr/>
                    <a:lstStyle/>
                    <a:p>
                      <a:pPr algn="ctr"/>
                      <a:r>
                        <a:rPr lang="en-GB" sz="2400" b="1" dirty="0"/>
                        <a:t>Cohorts v Personalised</a:t>
                      </a:r>
                    </a:p>
                  </a:txBody>
                  <a:tcPr/>
                </a:tc>
                <a:tc>
                  <a:txBody>
                    <a:bodyPr/>
                    <a:lstStyle/>
                    <a:p>
                      <a:pPr algn="ctr"/>
                      <a:r>
                        <a:rPr lang="en-GB" sz="2000" b="1" dirty="0">
                          <a:solidFill>
                            <a:schemeClr val="accent3">
                              <a:lumMod val="25000"/>
                            </a:schemeClr>
                          </a:solidFill>
                        </a:rPr>
                        <a:t>Cohorts</a:t>
                      </a:r>
                    </a:p>
                  </a:txBody>
                  <a:tcPr/>
                </a:tc>
                <a:tc>
                  <a:txBody>
                    <a:bodyPr/>
                    <a:lstStyle/>
                    <a:p>
                      <a:pPr algn="ctr"/>
                      <a:r>
                        <a:rPr lang="en-GB" sz="2000" b="1" dirty="0">
                          <a:solidFill>
                            <a:schemeClr val="accent3">
                              <a:lumMod val="25000"/>
                            </a:schemeClr>
                          </a:solidFill>
                        </a:rPr>
                        <a:t>Personalised</a:t>
                      </a:r>
                    </a:p>
                  </a:txBody>
                  <a:tcPr/>
                </a:tc>
                <a:tc>
                  <a:txBody>
                    <a:bodyPr/>
                    <a:lstStyle/>
                    <a:p>
                      <a:pPr algn="ctr"/>
                      <a:r>
                        <a:rPr lang="en-GB" sz="2000" b="1" dirty="0">
                          <a:solidFill>
                            <a:schemeClr val="accent3">
                              <a:lumMod val="25000"/>
                            </a:schemeClr>
                          </a:solidFill>
                        </a:rPr>
                        <a:t>Personalised</a:t>
                      </a:r>
                    </a:p>
                  </a:txBody>
                  <a:tcPr/>
                </a:tc>
                <a:extLst>
                  <a:ext uri="{0D108BD9-81ED-4DB2-BD59-A6C34878D82A}">
                    <a16:rowId xmlns:a16="http://schemas.microsoft.com/office/drawing/2014/main" val="3581283767"/>
                  </a:ext>
                </a:extLst>
              </a:tr>
              <a:tr h="776748">
                <a:tc>
                  <a:txBody>
                    <a:bodyPr/>
                    <a:lstStyle/>
                    <a:p>
                      <a:pPr algn="ctr"/>
                      <a:r>
                        <a:rPr lang="en-GB" sz="2400" b="1" dirty="0"/>
                        <a:t>Transactional V Ongoing</a:t>
                      </a:r>
                    </a:p>
                  </a:txBody>
                  <a:tcPr/>
                </a:tc>
                <a:tc>
                  <a:txBody>
                    <a:bodyPr/>
                    <a:lstStyle/>
                    <a:p>
                      <a:pPr algn="ctr"/>
                      <a:r>
                        <a:rPr lang="en-GB" sz="2000" b="1" dirty="0">
                          <a:solidFill>
                            <a:schemeClr val="accent3">
                              <a:lumMod val="25000"/>
                            </a:schemeClr>
                          </a:solidFill>
                        </a:rPr>
                        <a:t>Transactional</a:t>
                      </a:r>
                    </a:p>
                  </a:txBody>
                  <a:tcPr/>
                </a:tc>
                <a:tc>
                  <a:txBody>
                    <a:bodyPr/>
                    <a:lstStyle/>
                    <a:p>
                      <a:pPr algn="ctr"/>
                      <a:r>
                        <a:rPr lang="en-GB" sz="2000" b="1" dirty="0">
                          <a:solidFill>
                            <a:schemeClr val="accent3">
                              <a:lumMod val="25000"/>
                            </a:schemeClr>
                          </a:solidFill>
                        </a:rPr>
                        <a:t>Transactional or Ongoing </a:t>
                      </a:r>
                    </a:p>
                  </a:txBody>
                  <a:tcPr/>
                </a:tc>
                <a:tc>
                  <a:txBody>
                    <a:bodyPr/>
                    <a:lstStyle/>
                    <a:p>
                      <a:pPr algn="ctr"/>
                      <a:r>
                        <a:rPr lang="en-GB" sz="2000" b="1" dirty="0">
                          <a:solidFill>
                            <a:schemeClr val="accent3">
                              <a:lumMod val="25000"/>
                            </a:schemeClr>
                          </a:solidFill>
                        </a:rPr>
                        <a:t>Transactional or Ongoing</a:t>
                      </a:r>
                    </a:p>
                  </a:txBody>
                  <a:tcPr/>
                </a:tc>
                <a:extLst>
                  <a:ext uri="{0D108BD9-81ED-4DB2-BD59-A6C34878D82A}">
                    <a16:rowId xmlns:a16="http://schemas.microsoft.com/office/drawing/2014/main" val="661368836"/>
                  </a:ext>
                </a:extLst>
              </a:tr>
              <a:tr h="776748">
                <a:tc>
                  <a:txBody>
                    <a:bodyPr/>
                    <a:lstStyle/>
                    <a:p>
                      <a:pPr algn="ctr"/>
                      <a:r>
                        <a:rPr lang="en-GB" sz="2400" b="1" dirty="0"/>
                        <a:t>Broad or Narrow Data </a:t>
                      </a:r>
                    </a:p>
                  </a:txBody>
                  <a:tcPr/>
                </a:tc>
                <a:tc>
                  <a:txBody>
                    <a:bodyPr/>
                    <a:lstStyle/>
                    <a:p>
                      <a:pPr algn="ctr"/>
                      <a:r>
                        <a:rPr lang="en-GB" sz="2000" b="1" dirty="0">
                          <a:solidFill>
                            <a:schemeClr val="accent3">
                              <a:lumMod val="25000"/>
                            </a:schemeClr>
                          </a:solidFill>
                        </a:rPr>
                        <a:t>Narrow</a:t>
                      </a:r>
                    </a:p>
                  </a:txBody>
                  <a:tcPr/>
                </a:tc>
                <a:tc>
                  <a:txBody>
                    <a:bodyPr/>
                    <a:lstStyle/>
                    <a:p>
                      <a:pPr algn="ctr"/>
                      <a:r>
                        <a:rPr lang="en-GB" sz="2000" b="1" dirty="0">
                          <a:solidFill>
                            <a:schemeClr val="accent3">
                              <a:lumMod val="25000"/>
                            </a:schemeClr>
                          </a:solidFill>
                        </a:rPr>
                        <a:t>Narrow to Broad</a:t>
                      </a:r>
                    </a:p>
                  </a:txBody>
                  <a:tcPr/>
                </a:tc>
                <a:tc>
                  <a:txBody>
                    <a:bodyPr/>
                    <a:lstStyle/>
                    <a:p>
                      <a:pPr algn="ctr"/>
                      <a:r>
                        <a:rPr lang="en-GB" sz="2000" b="1" dirty="0">
                          <a:solidFill>
                            <a:schemeClr val="accent3">
                              <a:lumMod val="25000"/>
                            </a:schemeClr>
                          </a:solidFill>
                        </a:rPr>
                        <a:t>Broad </a:t>
                      </a:r>
                    </a:p>
                  </a:txBody>
                  <a:tcPr/>
                </a:tc>
                <a:extLst>
                  <a:ext uri="{0D108BD9-81ED-4DB2-BD59-A6C34878D82A}">
                    <a16:rowId xmlns:a16="http://schemas.microsoft.com/office/drawing/2014/main" val="3259891636"/>
                  </a:ext>
                </a:extLst>
              </a:tr>
              <a:tr h="766108">
                <a:tc>
                  <a:txBody>
                    <a:bodyPr/>
                    <a:lstStyle/>
                    <a:p>
                      <a:pPr algn="ctr"/>
                      <a:r>
                        <a:rPr lang="en-GB" sz="2400" b="1" dirty="0"/>
                        <a:t>Deep or Shallow Recommendations</a:t>
                      </a:r>
                    </a:p>
                  </a:txBody>
                  <a:tcPr/>
                </a:tc>
                <a:tc>
                  <a:txBody>
                    <a:bodyPr/>
                    <a:lstStyle/>
                    <a:p>
                      <a:pPr algn="ctr"/>
                      <a:r>
                        <a:rPr lang="en-GB" sz="2000" b="1" dirty="0">
                          <a:solidFill>
                            <a:schemeClr val="accent3">
                              <a:lumMod val="25000"/>
                            </a:schemeClr>
                          </a:solidFill>
                        </a:rPr>
                        <a:t>Shallow</a:t>
                      </a:r>
                    </a:p>
                  </a:txBody>
                  <a:tcPr/>
                </a:tc>
                <a:tc>
                  <a:txBody>
                    <a:bodyPr/>
                    <a:lstStyle/>
                    <a:p>
                      <a:pPr algn="ctr"/>
                      <a:r>
                        <a:rPr lang="en-GB" sz="2000" b="1" dirty="0">
                          <a:solidFill>
                            <a:schemeClr val="accent3">
                              <a:lumMod val="25000"/>
                            </a:schemeClr>
                          </a:solidFill>
                        </a:rPr>
                        <a:t>Shallow to Deep</a:t>
                      </a:r>
                    </a:p>
                  </a:txBody>
                  <a:tcPr/>
                </a:tc>
                <a:tc>
                  <a:txBody>
                    <a:bodyPr/>
                    <a:lstStyle/>
                    <a:p>
                      <a:pPr algn="ctr"/>
                      <a:r>
                        <a:rPr lang="en-GB" sz="2000" b="1" dirty="0">
                          <a:solidFill>
                            <a:schemeClr val="accent3">
                              <a:lumMod val="25000"/>
                            </a:schemeClr>
                          </a:solidFill>
                        </a:rPr>
                        <a:t>Deep </a:t>
                      </a:r>
                    </a:p>
                  </a:txBody>
                  <a:tcPr/>
                </a:tc>
                <a:extLst>
                  <a:ext uri="{0D108BD9-81ED-4DB2-BD59-A6C34878D82A}">
                    <a16:rowId xmlns:a16="http://schemas.microsoft.com/office/drawing/2014/main" val="216236328"/>
                  </a:ext>
                </a:extLst>
              </a:tr>
              <a:tr h="766108">
                <a:tc>
                  <a:txBody>
                    <a:bodyPr/>
                    <a:lstStyle/>
                    <a:p>
                      <a:pPr algn="ctr"/>
                      <a:r>
                        <a:rPr lang="en-GB" sz="2400" b="1" dirty="0"/>
                        <a:t>Cross Subsidy Permissible</a:t>
                      </a:r>
                    </a:p>
                  </a:txBody>
                  <a:tcPr/>
                </a:tc>
                <a:tc>
                  <a:txBody>
                    <a:bodyPr/>
                    <a:lstStyle/>
                    <a:p>
                      <a:pPr algn="ctr"/>
                      <a:r>
                        <a:rPr lang="en-GB" sz="2000" b="1" dirty="0">
                          <a:solidFill>
                            <a:schemeClr val="accent3">
                              <a:lumMod val="25000"/>
                            </a:schemeClr>
                          </a:solidFill>
                        </a:rPr>
                        <a:t>Yes</a:t>
                      </a:r>
                    </a:p>
                  </a:txBody>
                  <a:tcPr/>
                </a:tc>
                <a:tc>
                  <a:txBody>
                    <a:bodyPr/>
                    <a:lstStyle/>
                    <a:p>
                      <a:pPr algn="ctr"/>
                      <a:r>
                        <a:rPr lang="en-GB" sz="2000" b="1" dirty="0">
                          <a:solidFill>
                            <a:schemeClr val="accent3">
                              <a:lumMod val="25000"/>
                            </a:schemeClr>
                          </a:solidFill>
                        </a:rPr>
                        <a:t>No</a:t>
                      </a:r>
                    </a:p>
                  </a:txBody>
                  <a:tcPr/>
                </a:tc>
                <a:tc>
                  <a:txBody>
                    <a:bodyPr/>
                    <a:lstStyle/>
                    <a:p>
                      <a:pPr algn="ctr"/>
                      <a:r>
                        <a:rPr lang="en-GB" sz="2000" b="1" dirty="0">
                          <a:solidFill>
                            <a:schemeClr val="accent3">
                              <a:lumMod val="25000"/>
                            </a:schemeClr>
                          </a:solidFill>
                        </a:rPr>
                        <a:t>No</a:t>
                      </a:r>
                    </a:p>
                  </a:txBody>
                  <a:tcPr/>
                </a:tc>
                <a:extLst>
                  <a:ext uri="{0D108BD9-81ED-4DB2-BD59-A6C34878D82A}">
                    <a16:rowId xmlns:a16="http://schemas.microsoft.com/office/drawing/2014/main" val="3374284630"/>
                  </a:ext>
                </a:extLst>
              </a:tr>
            </a:tbl>
          </a:graphicData>
        </a:graphic>
      </p:graphicFrame>
    </p:spTree>
    <p:extLst>
      <p:ext uri="{BB962C8B-B14F-4D97-AF65-F5344CB8AC3E}">
        <p14:creationId xmlns:p14="http://schemas.microsoft.com/office/powerpoint/2010/main" val="39712789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E3871-5E91-7DAB-E392-34CCA44D0A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87FDE2-08FB-F2CA-A9BD-E68B1A24B5C4}"/>
              </a:ext>
            </a:extLst>
          </p:cNvPr>
          <p:cNvSpPr>
            <a:spLocks noGrp="1"/>
          </p:cNvSpPr>
          <p:nvPr>
            <p:ph type="title"/>
          </p:nvPr>
        </p:nvSpPr>
        <p:spPr>
          <a:xfrm>
            <a:off x="278695" y="57175"/>
            <a:ext cx="9922400" cy="585664"/>
          </a:xfrm>
        </p:spPr>
        <p:txBody>
          <a:bodyPr/>
          <a:lstStyle/>
          <a:p>
            <a:r>
              <a:rPr lang="en-GB" sz="3600" kern="1200" dirty="0">
                <a:latin typeface="GT Ultra Median Lloyds Regular" pitchFamily="50" charset="0"/>
                <a:cs typeface="+mj-cs"/>
              </a:rPr>
              <a:t>Targeted Support – Building a Conversation</a:t>
            </a:r>
          </a:p>
        </p:txBody>
      </p:sp>
      <p:pic>
        <p:nvPicPr>
          <p:cNvPr id="16" name="Graphic 15" descr="Puzzle pieces outline">
            <a:extLst>
              <a:ext uri="{FF2B5EF4-FFF2-40B4-BE49-F238E27FC236}">
                <a16:creationId xmlns:a16="http://schemas.microsoft.com/office/drawing/2014/main" id="{9D08F599-D180-37F5-1725-57FF9B472F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5486" y="655011"/>
            <a:ext cx="914400" cy="914400"/>
          </a:xfrm>
          <a:prstGeom prst="rect">
            <a:avLst/>
          </a:prstGeom>
        </p:spPr>
      </p:pic>
      <p:pic>
        <p:nvPicPr>
          <p:cNvPr id="4" name="Graphic 3" descr="Boardroom with solid fill">
            <a:extLst>
              <a:ext uri="{FF2B5EF4-FFF2-40B4-BE49-F238E27FC236}">
                <a16:creationId xmlns:a16="http://schemas.microsoft.com/office/drawing/2014/main" id="{AFC4764A-490E-C65E-A642-3CC5E73817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60030" y="705612"/>
            <a:ext cx="914400" cy="914400"/>
          </a:xfrm>
          <a:prstGeom prst="rect">
            <a:avLst/>
          </a:prstGeom>
        </p:spPr>
      </p:pic>
      <p:pic>
        <p:nvPicPr>
          <p:cNvPr id="6" name="Graphic 5" descr="Acorn with solid fill">
            <a:extLst>
              <a:ext uri="{FF2B5EF4-FFF2-40B4-BE49-F238E27FC236}">
                <a16:creationId xmlns:a16="http://schemas.microsoft.com/office/drawing/2014/main" id="{9D757E90-1D0F-66FA-D70A-4E00677BE2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600" y="792838"/>
            <a:ext cx="914400" cy="914400"/>
          </a:xfrm>
          <a:prstGeom prst="rect">
            <a:avLst/>
          </a:prstGeom>
        </p:spPr>
      </p:pic>
      <p:pic>
        <p:nvPicPr>
          <p:cNvPr id="8" name="Graphic 7" descr="Employee badge with solid fill">
            <a:extLst>
              <a:ext uri="{FF2B5EF4-FFF2-40B4-BE49-F238E27FC236}">
                <a16:creationId xmlns:a16="http://schemas.microsoft.com/office/drawing/2014/main" id="{A0C826FD-C0C4-A82E-A737-ABF6E5C570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00284" y="726142"/>
            <a:ext cx="914400" cy="914400"/>
          </a:xfrm>
          <a:prstGeom prst="rect">
            <a:avLst/>
          </a:prstGeom>
        </p:spPr>
      </p:pic>
      <p:pic>
        <p:nvPicPr>
          <p:cNvPr id="14" name="Graphic 13" descr="Puzzle pieces with solid fill">
            <a:extLst>
              <a:ext uri="{FF2B5EF4-FFF2-40B4-BE49-F238E27FC236}">
                <a16:creationId xmlns:a16="http://schemas.microsoft.com/office/drawing/2014/main" id="{F3DCB200-27C2-B6F2-7C91-A5B703DE5A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94828" y="719687"/>
            <a:ext cx="914400" cy="914400"/>
          </a:xfrm>
          <a:prstGeom prst="rect">
            <a:avLst/>
          </a:prstGeom>
        </p:spPr>
      </p:pic>
      <p:cxnSp>
        <p:nvCxnSpPr>
          <p:cNvPr id="18" name="Straight Arrow Connector 17">
            <a:extLst>
              <a:ext uri="{FF2B5EF4-FFF2-40B4-BE49-F238E27FC236}">
                <a16:creationId xmlns:a16="http://schemas.microsoft.com/office/drawing/2014/main" id="{E2EC79EE-AAD7-9D28-C5C6-CF2E9214CAE1}"/>
              </a:ext>
            </a:extLst>
          </p:cNvPr>
          <p:cNvCxnSpPr>
            <a:cxnSpLocks/>
          </p:cNvCxnSpPr>
          <p:nvPr/>
        </p:nvCxnSpPr>
        <p:spPr>
          <a:xfrm flipH="1">
            <a:off x="3987140" y="872241"/>
            <a:ext cx="6908774" cy="173607"/>
          </a:xfrm>
          <a:prstGeom prst="straightConnector1">
            <a:avLst/>
          </a:prstGeom>
          <a:ln w="381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62BA12E-4C64-CC5D-9D24-944A16085A29}"/>
              </a:ext>
            </a:extLst>
          </p:cNvPr>
          <p:cNvSpPr txBox="1"/>
          <p:nvPr/>
        </p:nvSpPr>
        <p:spPr>
          <a:xfrm>
            <a:off x="167268" y="1580346"/>
            <a:ext cx="1694986" cy="646331"/>
          </a:xfrm>
          <a:prstGeom prst="rect">
            <a:avLst/>
          </a:prstGeom>
          <a:noFill/>
        </p:spPr>
        <p:txBody>
          <a:bodyPr wrap="square" rtlCol="0">
            <a:spAutoFit/>
          </a:bodyPr>
          <a:lstStyle/>
          <a:p>
            <a:pPr algn="ctr"/>
            <a:r>
              <a:rPr lang="en-GB" b="1" dirty="0">
                <a:solidFill>
                  <a:srgbClr val="B061FF"/>
                </a:solidFill>
              </a:rPr>
              <a:t>Create Scenario</a:t>
            </a:r>
          </a:p>
        </p:txBody>
      </p:sp>
      <p:sp>
        <p:nvSpPr>
          <p:cNvPr id="22" name="TextBox 21">
            <a:extLst>
              <a:ext uri="{FF2B5EF4-FFF2-40B4-BE49-F238E27FC236}">
                <a16:creationId xmlns:a16="http://schemas.microsoft.com/office/drawing/2014/main" id="{73EE9125-2811-9290-E857-3DC85F2EBDD9}"/>
              </a:ext>
            </a:extLst>
          </p:cNvPr>
          <p:cNvSpPr txBox="1"/>
          <p:nvPr/>
        </p:nvSpPr>
        <p:spPr>
          <a:xfrm>
            <a:off x="5114292" y="1543980"/>
            <a:ext cx="1694986" cy="646331"/>
          </a:xfrm>
          <a:prstGeom prst="rect">
            <a:avLst/>
          </a:prstGeom>
          <a:noFill/>
        </p:spPr>
        <p:txBody>
          <a:bodyPr wrap="square" rtlCol="0">
            <a:spAutoFit/>
          </a:bodyPr>
          <a:lstStyle/>
          <a:p>
            <a:pPr algn="ctr"/>
            <a:r>
              <a:rPr lang="en-GB" b="1" dirty="0">
                <a:solidFill>
                  <a:srgbClr val="B061FF"/>
                </a:solidFill>
              </a:rPr>
              <a:t>Collate Data We have</a:t>
            </a:r>
          </a:p>
        </p:txBody>
      </p:sp>
      <p:sp>
        <p:nvSpPr>
          <p:cNvPr id="23" name="TextBox 22">
            <a:extLst>
              <a:ext uri="{FF2B5EF4-FFF2-40B4-BE49-F238E27FC236}">
                <a16:creationId xmlns:a16="http://schemas.microsoft.com/office/drawing/2014/main" id="{790E9F82-74A2-380E-A538-8AC39B6385EF}"/>
              </a:ext>
            </a:extLst>
          </p:cNvPr>
          <p:cNvSpPr txBox="1"/>
          <p:nvPr/>
        </p:nvSpPr>
        <p:spPr>
          <a:xfrm>
            <a:off x="7569737" y="1543980"/>
            <a:ext cx="1694986" cy="646331"/>
          </a:xfrm>
          <a:prstGeom prst="rect">
            <a:avLst/>
          </a:prstGeom>
          <a:noFill/>
        </p:spPr>
        <p:txBody>
          <a:bodyPr wrap="square" rtlCol="0">
            <a:spAutoFit/>
          </a:bodyPr>
          <a:lstStyle/>
          <a:p>
            <a:pPr algn="ctr"/>
            <a:r>
              <a:rPr lang="en-GB" b="1" dirty="0">
                <a:solidFill>
                  <a:srgbClr val="B061FF"/>
                </a:solidFill>
              </a:rPr>
              <a:t>Obtain Data We Need</a:t>
            </a:r>
          </a:p>
        </p:txBody>
      </p:sp>
      <p:sp>
        <p:nvSpPr>
          <p:cNvPr id="24" name="TextBox 23">
            <a:extLst>
              <a:ext uri="{FF2B5EF4-FFF2-40B4-BE49-F238E27FC236}">
                <a16:creationId xmlns:a16="http://schemas.microsoft.com/office/drawing/2014/main" id="{9EBC7B28-95DE-E229-FC93-1C5D8A85E4D6}"/>
              </a:ext>
            </a:extLst>
          </p:cNvPr>
          <p:cNvSpPr txBox="1"/>
          <p:nvPr/>
        </p:nvSpPr>
        <p:spPr>
          <a:xfrm>
            <a:off x="2806204" y="1578439"/>
            <a:ext cx="1694986" cy="646331"/>
          </a:xfrm>
          <a:prstGeom prst="rect">
            <a:avLst/>
          </a:prstGeom>
          <a:noFill/>
        </p:spPr>
        <p:txBody>
          <a:bodyPr wrap="square" rtlCol="0">
            <a:spAutoFit/>
          </a:bodyPr>
          <a:lstStyle/>
          <a:p>
            <a:pPr algn="ctr"/>
            <a:r>
              <a:rPr lang="en-GB" b="1" dirty="0">
                <a:solidFill>
                  <a:srgbClr val="B061FF"/>
                </a:solidFill>
              </a:rPr>
              <a:t>Ready Made Solutions</a:t>
            </a:r>
          </a:p>
        </p:txBody>
      </p:sp>
      <p:sp>
        <p:nvSpPr>
          <p:cNvPr id="25" name="TextBox 24">
            <a:extLst>
              <a:ext uri="{FF2B5EF4-FFF2-40B4-BE49-F238E27FC236}">
                <a16:creationId xmlns:a16="http://schemas.microsoft.com/office/drawing/2014/main" id="{D9E708B4-9F90-5DC4-F097-42B8B23747AE}"/>
              </a:ext>
            </a:extLst>
          </p:cNvPr>
          <p:cNvSpPr txBox="1"/>
          <p:nvPr/>
        </p:nvSpPr>
        <p:spPr>
          <a:xfrm>
            <a:off x="9829116" y="1502728"/>
            <a:ext cx="1694986" cy="646331"/>
          </a:xfrm>
          <a:prstGeom prst="rect">
            <a:avLst/>
          </a:prstGeom>
          <a:noFill/>
        </p:spPr>
        <p:txBody>
          <a:bodyPr wrap="square" rtlCol="0">
            <a:spAutoFit/>
          </a:bodyPr>
          <a:lstStyle/>
          <a:p>
            <a:pPr algn="ctr"/>
            <a:r>
              <a:rPr lang="en-GB" b="1" dirty="0">
                <a:solidFill>
                  <a:srgbClr val="B061FF"/>
                </a:solidFill>
              </a:rPr>
              <a:t>Make Suggestions</a:t>
            </a:r>
          </a:p>
        </p:txBody>
      </p:sp>
      <p:sp>
        <p:nvSpPr>
          <p:cNvPr id="26" name="TextBox 25">
            <a:extLst>
              <a:ext uri="{FF2B5EF4-FFF2-40B4-BE49-F238E27FC236}">
                <a16:creationId xmlns:a16="http://schemas.microsoft.com/office/drawing/2014/main" id="{9F386314-E8F3-3D9C-CB1A-DC3748315F8D}"/>
              </a:ext>
            </a:extLst>
          </p:cNvPr>
          <p:cNvSpPr txBox="1"/>
          <p:nvPr/>
        </p:nvSpPr>
        <p:spPr>
          <a:xfrm>
            <a:off x="167267" y="2289996"/>
            <a:ext cx="2252547" cy="4278094"/>
          </a:xfrm>
          <a:prstGeom prst="rect">
            <a:avLst/>
          </a:prstGeom>
          <a:noFill/>
        </p:spPr>
        <p:txBody>
          <a:bodyPr wrap="square" rtlCol="0">
            <a:spAutoFit/>
          </a:bodyPr>
          <a:lstStyle/>
          <a:p>
            <a:r>
              <a:rPr lang="en-GB" sz="1600" b="1" dirty="0"/>
              <a:t>Reactive scenarios</a:t>
            </a:r>
          </a:p>
          <a:p>
            <a:endParaRPr lang="en-GB" sz="1600" dirty="0"/>
          </a:p>
          <a:p>
            <a:r>
              <a:rPr lang="en-GB" sz="1600" dirty="0"/>
              <a:t>For example – customers approaching us at retirement and asking about their retirement options.</a:t>
            </a:r>
          </a:p>
          <a:p>
            <a:endParaRPr lang="en-GB" sz="1600" dirty="0"/>
          </a:p>
          <a:p>
            <a:r>
              <a:rPr lang="en-GB" sz="1600" b="1" dirty="0"/>
              <a:t>Pro-active scenarios</a:t>
            </a:r>
          </a:p>
          <a:p>
            <a:endParaRPr lang="en-GB" sz="1600" dirty="0"/>
          </a:p>
          <a:p>
            <a:r>
              <a:rPr lang="en-GB" sz="1600" dirty="0"/>
              <a:t>For example – we have thousands of young workplace pension customers invested in a cautious fund.    </a:t>
            </a:r>
          </a:p>
        </p:txBody>
      </p:sp>
      <p:sp>
        <p:nvSpPr>
          <p:cNvPr id="27" name="TextBox 26">
            <a:extLst>
              <a:ext uri="{FF2B5EF4-FFF2-40B4-BE49-F238E27FC236}">
                <a16:creationId xmlns:a16="http://schemas.microsoft.com/office/drawing/2014/main" id="{D2FE91FE-E689-3952-582B-610F465983B6}"/>
              </a:ext>
            </a:extLst>
          </p:cNvPr>
          <p:cNvSpPr txBox="1"/>
          <p:nvPr/>
        </p:nvSpPr>
        <p:spPr>
          <a:xfrm>
            <a:off x="5017600" y="2289996"/>
            <a:ext cx="2252547" cy="3262432"/>
          </a:xfrm>
          <a:prstGeom prst="rect">
            <a:avLst/>
          </a:prstGeom>
          <a:noFill/>
        </p:spPr>
        <p:txBody>
          <a:bodyPr wrap="square" rtlCol="0">
            <a:spAutoFit/>
          </a:bodyPr>
          <a:lstStyle/>
          <a:p>
            <a:r>
              <a:rPr lang="en-GB" dirty="0"/>
              <a:t>Establish what data we have that is relevant to the scenario.</a:t>
            </a:r>
          </a:p>
          <a:p>
            <a:endParaRPr lang="en-GB" dirty="0"/>
          </a:p>
          <a:p>
            <a:r>
              <a:rPr lang="en-GB" dirty="0"/>
              <a:t>For example;</a:t>
            </a:r>
          </a:p>
          <a:p>
            <a:pPr marL="285750" indent="-285750">
              <a:buFont typeface="Arial" panose="020B0604020202020204" pitchFamily="34" charset="0"/>
              <a:buChar char="•"/>
            </a:pPr>
            <a:endParaRPr lang="en-GB" sz="800" dirty="0"/>
          </a:p>
          <a:p>
            <a:pPr marL="285750" indent="-285750" algn="l">
              <a:buFont typeface="Arial" panose="020B0604020202020204" pitchFamily="34" charset="0"/>
              <a:buChar char="•"/>
            </a:pPr>
            <a:r>
              <a:rPr lang="en-GB" i="1" dirty="0"/>
              <a:t>Age</a:t>
            </a:r>
          </a:p>
          <a:p>
            <a:pPr marL="285750" indent="-285750" algn="l">
              <a:buFont typeface="Arial" panose="020B0604020202020204" pitchFamily="34" charset="0"/>
              <a:buChar char="•"/>
            </a:pPr>
            <a:r>
              <a:rPr lang="en-GB" i="1" dirty="0"/>
              <a:t>Value of Investment</a:t>
            </a:r>
          </a:p>
          <a:p>
            <a:pPr marL="285750" indent="-285750" algn="l">
              <a:buFont typeface="Arial" panose="020B0604020202020204" pitchFamily="34" charset="0"/>
              <a:buChar char="•"/>
            </a:pPr>
            <a:r>
              <a:rPr lang="en-GB" i="1" dirty="0"/>
              <a:t>Risk profile of investment    </a:t>
            </a:r>
          </a:p>
        </p:txBody>
      </p:sp>
      <p:sp>
        <p:nvSpPr>
          <p:cNvPr id="28" name="TextBox 27">
            <a:extLst>
              <a:ext uri="{FF2B5EF4-FFF2-40B4-BE49-F238E27FC236}">
                <a16:creationId xmlns:a16="http://schemas.microsoft.com/office/drawing/2014/main" id="{8EB958FF-7A46-1FBC-7179-6CDC2B057F8B}"/>
              </a:ext>
            </a:extLst>
          </p:cNvPr>
          <p:cNvSpPr txBox="1"/>
          <p:nvPr/>
        </p:nvSpPr>
        <p:spPr>
          <a:xfrm>
            <a:off x="7352463" y="2289996"/>
            <a:ext cx="2252547" cy="4524315"/>
          </a:xfrm>
          <a:prstGeom prst="rect">
            <a:avLst/>
          </a:prstGeom>
          <a:noFill/>
        </p:spPr>
        <p:txBody>
          <a:bodyPr wrap="square" rtlCol="0">
            <a:spAutoFit/>
          </a:bodyPr>
          <a:lstStyle/>
          <a:p>
            <a:r>
              <a:rPr lang="en-GB" dirty="0"/>
              <a:t>Design a customer conversation (normally digital) to obtain any additional information which is needed to make a ‘suggestion’. </a:t>
            </a:r>
            <a:r>
              <a:rPr lang="en-GB" i="1" dirty="0"/>
              <a:t>  </a:t>
            </a:r>
          </a:p>
          <a:p>
            <a:endParaRPr lang="en-GB" i="1" dirty="0"/>
          </a:p>
          <a:p>
            <a:r>
              <a:rPr lang="en-GB" i="1" dirty="0"/>
              <a:t>For example;</a:t>
            </a:r>
          </a:p>
          <a:p>
            <a:endParaRPr lang="en-GB" sz="800" i="1" dirty="0"/>
          </a:p>
          <a:p>
            <a:pPr marL="285750" indent="-285750">
              <a:buFont typeface="Arial" panose="020B0604020202020204" pitchFamily="34" charset="0"/>
              <a:buChar char="•"/>
            </a:pPr>
            <a:r>
              <a:rPr lang="en-GB" i="1" dirty="0"/>
              <a:t>Customer’s attitude to risk?</a:t>
            </a:r>
          </a:p>
          <a:p>
            <a:pPr marL="285750" indent="-285750">
              <a:buFont typeface="Arial" panose="020B0604020202020204" pitchFamily="34" charset="0"/>
              <a:buChar char="•"/>
            </a:pPr>
            <a:r>
              <a:rPr lang="en-GB" i="1" dirty="0"/>
              <a:t>What do they plan to do with their investment?    </a:t>
            </a:r>
          </a:p>
        </p:txBody>
      </p:sp>
      <p:sp>
        <p:nvSpPr>
          <p:cNvPr id="29" name="TextBox 28">
            <a:extLst>
              <a:ext uri="{FF2B5EF4-FFF2-40B4-BE49-F238E27FC236}">
                <a16:creationId xmlns:a16="http://schemas.microsoft.com/office/drawing/2014/main" id="{F45BE7B6-B0B2-9849-E63C-C7ADEF448BBA}"/>
              </a:ext>
            </a:extLst>
          </p:cNvPr>
          <p:cNvSpPr txBox="1"/>
          <p:nvPr/>
        </p:nvSpPr>
        <p:spPr>
          <a:xfrm>
            <a:off x="2682737" y="2292440"/>
            <a:ext cx="2252547" cy="3693319"/>
          </a:xfrm>
          <a:prstGeom prst="rect">
            <a:avLst/>
          </a:prstGeom>
          <a:noFill/>
        </p:spPr>
        <p:txBody>
          <a:bodyPr wrap="square" rtlCol="0">
            <a:spAutoFit/>
          </a:bodyPr>
          <a:lstStyle/>
          <a:p>
            <a:r>
              <a:rPr lang="en-GB" dirty="0"/>
              <a:t>Create a range of recommended outcomes.   </a:t>
            </a:r>
          </a:p>
          <a:p>
            <a:endParaRPr lang="en-GB" i="1" dirty="0"/>
          </a:p>
          <a:p>
            <a:r>
              <a:rPr lang="en-GB" dirty="0"/>
              <a:t>These need to be comprehensive in their totality.</a:t>
            </a:r>
          </a:p>
          <a:p>
            <a:endParaRPr lang="en-GB" dirty="0"/>
          </a:p>
          <a:p>
            <a:r>
              <a:rPr lang="en-GB" dirty="0"/>
              <a:t>These need to sufficiently diverse to represent the main potential options.     </a:t>
            </a:r>
          </a:p>
        </p:txBody>
      </p:sp>
      <p:sp>
        <p:nvSpPr>
          <p:cNvPr id="30" name="TextBox 29">
            <a:extLst>
              <a:ext uri="{FF2B5EF4-FFF2-40B4-BE49-F238E27FC236}">
                <a16:creationId xmlns:a16="http://schemas.microsoft.com/office/drawing/2014/main" id="{C870A6FE-EDDB-9B14-1B17-96AACCAD7ED3}"/>
              </a:ext>
            </a:extLst>
          </p:cNvPr>
          <p:cNvSpPr txBox="1"/>
          <p:nvPr/>
        </p:nvSpPr>
        <p:spPr>
          <a:xfrm>
            <a:off x="9769641" y="2293578"/>
            <a:ext cx="2252547" cy="3970318"/>
          </a:xfrm>
          <a:prstGeom prst="rect">
            <a:avLst/>
          </a:prstGeom>
          <a:noFill/>
        </p:spPr>
        <p:txBody>
          <a:bodyPr wrap="square" rtlCol="0">
            <a:spAutoFit/>
          </a:bodyPr>
          <a:lstStyle/>
          <a:p>
            <a:r>
              <a:rPr lang="en-GB" dirty="0"/>
              <a:t>Suggestions must not be personal.</a:t>
            </a:r>
          </a:p>
          <a:p>
            <a:endParaRPr lang="en-GB" dirty="0"/>
          </a:p>
          <a:p>
            <a:r>
              <a:rPr lang="en-GB" dirty="0"/>
              <a:t>Suggestions must be cohort based, where the Ready-Made Solution which is suggested related to the cohort which the customer is allocated to, based on the data we held + the data we gathered.      </a:t>
            </a:r>
          </a:p>
        </p:txBody>
      </p:sp>
      <p:sp>
        <p:nvSpPr>
          <p:cNvPr id="3" name="Rectangle: Rounded Corners 2">
            <a:extLst>
              <a:ext uri="{FF2B5EF4-FFF2-40B4-BE49-F238E27FC236}">
                <a16:creationId xmlns:a16="http://schemas.microsoft.com/office/drawing/2014/main" id="{095C3B85-1AAB-F157-648A-9F4E0980D38E}"/>
              </a:ext>
            </a:extLst>
          </p:cNvPr>
          <p:cNvSpPr/>
          <p:nvPr/>
        </p:nvSpPr>
        <p:spPr>
          <a:xfrm>
            <a:off x="142875" y="4191000"/>
            <a:ext cx="2152650" cy="2440409"/>
          </a:xfrm>
          <a:prstGeom prst="round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b" anchorCtr="0"/>
          <a:lstStyle/>
          <a:p>
            <a:pPr algn="ctr"/>
            <a:r>
              <a:rPr lang="en-GB" sz="2000" b="1" dirty="0">
                <a:solidFill>
                  <a:srgbClr val="C00000"/>
                </a:solidFill>
              </a:rPr>
              <a:t>PECR</a:t>
            </a:r>
          </a:p>
        </p:txBody>
      </p:sp>
      <p:sp>
        <p:nvSpPr>
          <p:cNvPr id="5" name="Rectangle: Rounded Corners 4">
            <a:extLst>
              <a:ext uri="{FF2B5EF4-FFF2-40B4-BE49-F238E27FC236}">
                <a16:creationId xmlns:a16="http://schemas.microsoft.com/office/drawing/2014/main" id="{B49ADE9E-9848-A610-26A3-F590B5E36753}"/>
              </a:ext>
            </a:extLst>
          </p:cNvPr>
          <p:cNvSpPr/>
          <p:nvPr/>
        </p:nvSpPr>
        <p:spPr>
          <a:xfrm>
            <a:off x="9740545" y="3058532"/>
            <a:ext cx="2152650" cy="3572877"/>
          </a:xfrm>
          <a:prstGeom prst="round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b" anchorCtr="0"/>
          <a:lstStyle/>
          <a:p>
            <a:pPr algn="ctr"/>
            <a:r>
              <a:rPr lang="en-GB" sz="2000" b="1" dirty="0">
                <a:solidFill>
                  <a:srgbClr val="C00000"/>
                </a:solidFill>
              </a:rPr>
              <a:t>FOS</a:t>
            </a:r>
          </a:p>
        </p:txBody>
      </p:sp>
    </p:spTree>
    <p:extLst>
      <p:ext uri="{BB962C8B-B14F-4D97-AF65-F5344CB8AC3E}">
        <p14:creationId xmlns:p14="http://schemas.microsoft.com/office/powerpoint/2010/main" val="3834049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622BEC-FB72-F243-6A24-8B06410B6C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410840-A177-ED57-B757-AB0BDD895C97}"/>
              </a:ext>
            </a:extLst>
          </p:cNvPr>
          <p:cNvSpPr>
            <a:spLocks noGrp="1"/>
          </p:cNvSpPr>
          <p:nvPr>
            <p:ph type="title"/>
          </p:nvPr>
        </p:nvSpPr>
        <p:spPr>
          <a:xfrm>
            <a:off x="278695" y="57175"/>
            <a:ext cx="9922400" cy="585664"/>
          </a:xfrm>
        </p:spPr>
        <p:txBody>
          <a:bodyPr/>
          <a:lstStyle/>
          <a:p>
            <a:r>
              <a:rPr lang="en-GB" sz="3600" kern="1200" dirty="0">
                <a:latin typeface="GT Ultra Median Lloyds Regular" pitchFamily="50" charset="0"/>
                <a:cs typeface="+mj-cs"/>
              </a:rPr>
              <a:t>Good and Bad Ready Made Solutions Design</a:t>
            </a:r>
          </a:p>
        </p:txBody>
      </p:sp>
      <p:sp>
        <p:nvSpPr>
          <p:cNvPr id="7" name="Rectangle 6">
            <a:extLst>
              <a:ext uri="{FF2B5EF4-FFF2-40B4-BE49-F238E27FC236}">
                <a16:creationId xmlns:a16="http://schemas.microsoft.com/office/drawing/2014/main" id="{6C0EC4DD-316B-AAA6-F987-4ECBF5C6D02B}"/>
              </a:ext>
            </a:extLst>
          </p:cNvPr>
          <p:cNvSpPr/>
          <p:nvPr/>
        </p:nvSpPr>
        <p:spPr>
          <a:xfrm>
            <a:off x="407990" y="1883664"/>
            <a:ext cx="5325298" cy="4462272"/>
          </a:xfrm>
          <a:prstGeom prst="rect">
            <a:avLst/>
          </a:prstGeom>
          <a:solidFill>
            <a:schemeClr val="accent3"/>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6C3510A2-13B0-452C-FFD9-E7BACE4F2859}"/>
              </a:ext>
            </a:extLst>
          </p:cNvPr>
          <p:cNvSpPr/>
          <p:nvPr/>
        </p:nvSpPr>
        <p:spPr>
          <a:xfrm>
            <a:off x="6306314" y="1883664"/>
            <a:ext cx="5325298" cy="4462272"/>
          </a:xfrm>
          <a:prstGeom prst="rect">
            <a:avLst/>
          </a:prstGeom>
          <a:solidFill>
            <a:schemeClr val="accent3"/>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5A284706-6380-BED3-DCCA-D21A5642357A}"/>
              </a:ext>
            </a:extLst>
          </p:cNvPr>
          <p:cNvSpPr txBox="1"/>
          <p:nvPr/>
        </p:nvSpPr>
        <p:spPr>
          <a:xfrm>
            <a:off x="1307592" y="2002536"/>
            <a:ext cx="3456432" cy="369332"/>
          </a:xfrm>
          <a:prstGeom prst="rect">
            <a:avLst/>
          </a:prstGeom>
          <a:noFill/>
        </p:spPr>
        <p:txBody>
          <a:bodyPr wrap="square" rtlCol="0">
            <a:spAutoFit/>
          </a:bodyPr>
          <a:lstStyle/>
          <a:p>
            <a:r>
              <a:rPr lang="en-GB" b="1" dirty="0"/>
              <a:t>Range of Potential Solutions</a:t>
            </a:r>
          </a:p>
        </p:txBody>
      </p:sp>
      <p:sp>
        <p:nvSpPr>
          <p:cNvPr id="11" name="TextBox 10">
            <a:extLst>
              <a:ext uri="{FF2B5EF4-FFF2-40B4-BE49-F238E27FC236}">
                <a16:creationId xmlns:a16="http://schemas.microsoft.com/office/drawing/2014/main" id="{9B497DDF-5D27-DCBD-0B91-7072307BE52D}"/>
              </a:ext>
            </a:extLst>
          </p:cNvPr>
          <p:cNvSpPr txBox="1"/>
          <p:nvPr/>
        </p:nvSpPr>
        <p:spPr>
          <a:xfrm>
            <a:off x="7559040" y="1993916"/>
            <a:ext cx="3456432" cy="369332"/>
          </a:xfrm>
          <a:prstGeom prst="rect">
            <a:avLst/>
          </a:prstGeom>
          <a:noFill/>
        </p:spPr>
        <p:txBody>
          <a:bodyPr wrap="square" rtlCol="0">
            <a:spAutoFit/>
          </a:bodyPr>
          <a:lstStyle/>
          <a:p>
            <a:r>
              <a:rPr lang="en-GB" b="1" dirty="0"/>
              <a:t>Range of Potential Solutions</a:t>
            </a:r>
          </a:p>
        </p:txBody>
      </p:sp>
      <p:sp>
        <p:nvSpPr>
          <p:cNvPr id="15" name="Rectangle 14">
            <a:extLst>
              <a:ext uri="{FF2B5EF4-FFF2-40B4-BE49-F238E27FC236}">
                <a16:creationId xmlns:a16="http://schemas.microsoft.com/office/drawing/2014/main" id="{4A73FD61-66B6-4B0A-CD0E-88CB10317A10}"/>
              </a:ext>
            </a:extLst>
          </p:cNvPr>
          <p:cNvSpPr/>
          <p:nvPr/>
        </p:nvSpPr>
        <p:spPr>
          <a:xfrm>
            <a:off x="6501384" y="2371868"/>
            <a:ext cx="2368296" cy="1944100"/>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17" name="Rectangle 16">
            <a:extLst>
              <a:ext uri="{FF2B5EF4-FFF2-40B4-BE49-F238E27FC236}">
                <a16:creationId xmlns:a16="http://schemas.microsoft.com/office/drawing/2014/main" id="{20C249B9-481C-9EBD-E3B0-5A16123AF80A}"/>
              </a:ext>
            </a:extLst>
          </p:cNvPr>
          <p:cNvSpPr/>
          <p:nvPr/>
        </p:nvSpPr>
        <p:spPr>
          <a:xfrm>
            <a:off x="9022080" y="2371868"/>
            <a:ext cx="2499360" cy="1944100"/>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2910A2FB-8100-10B4-CB89-6DA0DC7385A7}"/>
              </a:ext>
            </a:extLst>
          </p:cNvPr>
          <p:cNvSpPr/>
          <p:nvPr/>
        </p:nvSpPr>
        <p:spPr>
          <a:xfrm>
            <a:off x="6501384" y="4420234"/>
            <a:ext cx="2368296" cy="1824449"/>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20" name="Rectangle 19">
            <a:extLst>
              <a:ext uri="{FF2B5EF4-FFF2-40B4-BE49-F238E27FC236}">
                <a16:creationId xmlns:a16="http://schemas.microsoft.com/office/drawing/2014/main" id="{C4E47CB5-23BF-A912-9DF6-FDBA8F375587}"/>
              </a:ext>
            </a:extLst>
          </p:cNvPr>
          <p:cNvSpPr/>
          <p:nvPr/>
        </p:nvSpPr>
        <p:spPr>
          <a:xfrm>
            <a:off x="9022080" y="4420234"/>
            <a:ext cx="2499360" cy="1824449"/>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1" name="Rectangle 30">
            <a:extLst>
              <a:ext uri="{FF2B5EF4-FFF2-40B4-BE49-F238E27FC236}">
                <a16:creationId xmlns:a16="http://schemas.microsoft.com/office/drawing/2014/main" id="{01DA0E66-DEEC-53CB-F01E-F592D9672432}"/>
              </a:ext>
            </a:extLst>
          </p:cNvPr>
          <p:cNvSpPr/>
          <p:nvPr/>
        </p:nvSpPr>
        <p:spPr>
          <a:xfrm>
            <a:off x="560388" y="2542033"/>
            <a:ext cx="2368296" cy="1182474"/>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2" name="Rectangle 31">
            <a:extLst>
              <a:ext uri="{FF2B5EF4-FFF2-40B4-BE49-F238E27FC236}">
                <a16:creationId xmlns:a16="http://schemas.microsoft.com/office/drawing/2014/main" id="{4221D900-BEDD-D0EE-7B8B-87ACEAE6647B}"/>
              </a:ext>
            </a:extLst>
          </p:cNvPr>
          <p:cNvSpPr/>
          <p:nvPr/>
        </p:nvSpPr>
        <p:spPr>
          <a:xfrm>
            <a:off x="3983698" y="2729711"/>
            <a:ext cx="1497611" cy="2029966"/>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3" name="Rectangle 32">
            <a:extLst>
              <a:ext uri="{FF2B5EF4-FFF2-40B4-BE49-F238E27FC236}">
                <a16:creationId xmlns:a16="http://schemas.microsoft.com/office/drawing/2014/main" id="{D7BC7213-6BCF-A178-CAE8-60B636203EEC}"/>
              </a:ext>
            </a:extLst>
          </p:cNvPr>
          <p:cNvSpPr/>
          <p:nvPr/>
        </p:nvSpPr>
        <p:spPr>
          <a:xfrm>
            <a:off x="2272043" y="3935046"/>
            <a:ext cx="2368296" cy="1182474"/>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4" name="Rectangle 33">
            <a:extLst>
              <a:ext uri="{FF2B5EF4-FFF2-40B4-BE49-F238E27FC236}">
                <a16:creationId xmlns:a16="http://schemas.microsoft.com/office/drawing/2014/main" id="{246D131C-7325-49BC-BF50-7270D4D3A4E4}"/>
              </a:ext>
            </a:extLst>
          </p:cNvPr>
          <p:cNvSpPr/>
          <p:nvPr/>
        </p:nvSpPr>
        <p:spPr>
          <a:xfrm>
            <a:off x="3423407" y="3076446"/>
            <a:ext cx="904139" cy="1182474"/>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5" name="Rectangle 34">
            <a:extLst>
              <a:ext uri="{FF2B5EF4-FFF2-40B4-BE49-F238E27FC236}">
                <a16:creationId xmlns:a16="http://schemas.microsoft.com/office/drawing/2014/main" id="{CC8E13C2-F3DA-1E00-C844-B959758EA2E4}"/>
              </a:ext>
            </a:extLst>
          </p:cNvPr>
          <p:cNvSpPr/>
          <p:nvPr/>
        </p:nvSpPr>
        <p:spPr>
          <a:xfrm>
            <a:off x="560388" y="5854390"/>
            <a:ext cx="257912" cy="268970"/>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pic>
        <p:nvPicPr>
          <p:cNvPr id="36" name="Picture 35">
            <a:extLst>
              <a:ext uri="{FF2B5EF4-FFF2-40B4-BE49-F238E27FC236}">
                <a16:creationId xmlns:a16="http://schemas.microsoft.com/office/drawing/2014/main" id="{92FADC1D-46D2-CC93-8EE5-5B81ED6B92D9}"/>
              </a:ext>
            </a:extLst>
          </p:cNvPr>
          <p:cNvPicPr>
            <a:picLocks noChangeAspect="1"/>
          </p:cNvPicPr>
          <p:nvPr/>
        </p:nvPicPr>
        <p:blipFill>
          <a:blip r:embed="rId3"/>
          <a:stretch>
            <a:fillRect/>
          </a:stretch>
        </p:blipFill>
        <p:spPr>
          <a:xfrm>
            <a:off x="818300" y="5485497"/>
            <a:ext cx="280440" cy="292633"/>
          </a:xfrm>
          <a:prstGeom prst="rect">
            <a:avLst/>
          </a:prstGeom>
        </p:spPr>
      </p:pic>
      <p:sp>
        <p:nvSpPr>
          <p:cNvPr id="37" name="Rectangle 36">
            <a:extLst>
              <a:ext uri="{FF2B5EF4-FFF2-40B4-BE49-F238E27FC236}">
                <a16:creationId xmlns:a16="http://schemas.microsoft.com/office/drawing/2014/main" id="{6BCAF4D6-36BD-D6D2-3733-FB11D9AD3782}"/>
              </a:ext>
            </a:extLst>
          </p:cNvPr>
          <p:cNvSpPr/>
          <p:nvPr/>
        </p:nvSpPr>
        <p:spPr>
          <a:xfrm>
            <a:off x="1091850" y="5854390"/>
            <a:ext cx="257912" cy="268970"/>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8" name="Rectangle 37">
            <a:extLst>
              <a:ext uri="{FF2B5EF4-FFF2-40B4-BE49-F238E27FC236}">
                <a16:creationId xmlns:a16="http://schemas.microsoft.com/office/drawing/2014/main" id="{1A4E09EE-56BD-CAC1-468C-252656A4B1F0}"/>
              </a:ext>
            </a:extLst>
          </p:cNvPr>
          <p:cNvSpPr/>
          <p:nvPr/>
        </p:nvSpPr>
        <p:spPr>
          <a:xfrm>
            <a:off x="1415876" y="5621108"/>
            <a:ext cx="257912" cy="268970"/>
          </a:xfrm>
          <a:prstGeom prst="rect">
            <a:avLst/>
          </a:prstGeom>
          <a:solidFill>
            <a:srgbClr val="FFCCD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EDE9FF"/>
              </a:solidFill>
            </a:endParaRPr>
          </a:p>
        </p:txBody>
      </p:sp>
      <p:sp>
        <p:nvSpPr>
          <p:cNvPr id="39" name="TextBox 38">
            <a:extLst>
              <a:ext uri="{FF2B5EF4-FFF2-40B4-BE49-F238E27FC236}">
                <a16:creationId xmlns:a16="http://schemas.microsoft.com/office/drawing/2014/main" id="{976FFE9E-4095-C625-22A0-802F40A888A6}"/>
              </a:ext>
            </a:extLst>
          </p:cNvPr>
          <p:cNvSpPr txBox="1"/>
          <p:nvPr/>
        </p:nvSpPr>
        <p:spPr>
          <a:xfrm>
            <a:off x="1729950" y="5804209"/>
            <a:ext cx="4155736" cy="369332"/>
          </a:xfrm>
          <a:prstGeom prst="rect">
            <a:avLst/>
          </a:prstGeom>
          <a:noFill/>
        </p:spPr>
        <p:txBody>
          <a:bodyPr wrap="square" rtlCol="0">
            <a:spAutoFit/>
          </a:bodyPr>
          <a:lstStyle/>
          <a:p>
            <a:r>
              <a:rPr lang="en-GB" i="1" dirty="0"/>
              <a:t>Micro solutions = too close to Advice.</a:t>
            </a:r>
          </a:p>
        </p:txBody>
      </p:sp>
      <p:sp>
        <p:nvSpPr>
          <p:cNvPr id="40" name="TextBox 39">
            <a:extLst>
              <a:ext uri="{FF2B5EF4-FFF2-40B4-BE49-F238E27FC236}">
                <a16:creationId xmlns:a16="http://schemas.microsoft.com/office/drawing/2014/main" id="{78B545C5-4E53-4E97-CFF2-7ADF0175D458}"/>
              </a:ext>
            </a:extLst>
          </p:cNvPr>
          <p:cNvSpPr txBox="1"/>
          <p:nvPr/>
        </p:nvSpPr>
        <p:spPr>
          <a:xfrm>
            <a:off x="638487" y="4402832"/>
            <a:ext cx="4155736" cy="369332"/>
          </a:xfrm>
          <a:prstGeom prst="rect">
            <a:avLst/>
          </a:prstGeom>
          <a:noFill/>
        </p:spPr>
        <p:txBody>
          <a:bodyPr wrap="square" rtlCol="0">
            <a:spAutoFit/>
          </a:bodyPr>
          <a:lstStyle/>
          <a:p>
            <a:r>
              <a:rPr lang="en-GB" i="1" dirty="0"/>
              <a:t>Big Gaps</a:t>
            </a:r>
          </a:p>
        </p:txBody>
      </p:sp>
      <p:sp>
        <p:nvSpPr>
          <p:cNvPr id="41" name="TextBox 40">
            <a:extLst>
              <a:ext uri="{FF2B5EF4-FFF2-40B4-BE49-F238E27FC236}">
                <a16:creationId xmlns:a16="http://schemas.microsoft.com/office/drawing/2014/main" id="{871ACD42-609E-F420-2973-C8CD041D51A6}"/>
              </a:ext>
            </a:extLst>
          </p:cNvPr>
          <p:cNvSpPr txBox="1"/>
          <p:nvPr/>
        </p:nvSpPr>
        <p:spPr>
          <a:xfrm>
            <a:off x="2999294" y="4306151"/>
            <a:ext cx="4155736" cy="369332"/>
          </a:xfrm>
          <a:prstGeom prst="rect">
            <a:avLst/>
          </a:prstGeom>
          <a:noFill/>
        </p:spPr>
        <p:txBody>
          <a:bodyPr wrap="square" rtlCol="0">
            <a:spAutoFit/>
          </a:bodyPr>
          <a:lstStyle/>
          <a:p>
            <a:r>
              <a:rPr lang="en-GB" i="1" dirty="0"/>
              <a:t>Overlapping Solutions</a:t>
            </a:r>
          </a:p>
        </p:txBody>
      </p:sp>
      <p:sp>
        <p:nvSpPr>
          <p:cNvPr id="42" name="TextBox 41">
            <a:extLst>
              <a:ext uri="{FF2B5EF4-FFF2-40B4-BE49-F238E27FC236}">
                <a16:creationId xmlns:a16="http://schemas.microsoft.com/office/drawing/2014/main" id="{202D51CF-8BC7-FF2D-A478-458F04544245}"/>
              </a:ext>
            </a:extLst>
          </p:cNvPr>
          <p:cNvSpPr txBox="1"/>
          <p:nvPr/>
        </p:nvSpPr>
        <p:spPr>
          <a:xfrm>
            <a:off x="6884652" y="2977145"/>
            <a:ext cx="1691216" cy="646331"/>
          </a:xfrm>
          <a:prstGeom prst="rect">
            <a:avLst/>
          </a:prstGeom>
          <a:noFill/>
        </p:spPr>
        <p:txBody>
          <a:bodyPr wrap="square" rtlCol="0">
            <a:spAutoFit/>
          </a:bodyPr>
          <a:lstStyle/>
          <a:p>
            <a:pPr algn="ctr"/>
            <a:r>
              <a:rPr lang="en-GB" i="1" dirty="0"/>
              <a:t>Ready Made Solution 1</a:t>
            </a:r>
          </a:p>
        </p:txBody>
      </p:sp>
      <p:sp>
        <p:nvSpPr>
          <p:cNvPr id="43" name="TextBox 42">
            <a:extLst>
              <a:ext uri="{FF2B5EF4-FFF2-40B4-BE49-F238E27FC236}">
                <a16:creationId xmlns:a16="http://schemas.microsoft.com/office/drawing/2014/main" id="{748A846B-92B0-B800-6D9A-EE13C40AD8B0}"/>
              </a:ext>
            </a:extLst>
          </p:cNvPr>
          <p:cNvSpPr txBox="1"/>
          <p:nvPr/>
        </p:nvSpPr>
        <p:spPr>
          <a:xfrm>
            <a:off x="9426152" y="2970854"/>
            <a:ext cx="1691216" cy="646331"/>
          </a:xfrm>
          <a:prstGeom prst="rect">
            <a:avLst/>
          </a:prstGeom>
          <a:noFill/>
        </p:spPr>
        <p:txBody>
          <a:bodyPr wrap="square" rtlCol="0">
            <a:spAutoFit/>
          </a:bodyPr>
          <a:lstStyle/>
          <a:p>
            <a:pPr algn="ctr"/>
            <a:r>
              <a:rPr lang="en-GB" i="1" dirty="0"/>
              <a:t>Ready Made Solution 2</a:t>
            </a:r>
          </a:p>
        </p:txBody>
      </p:sp>
      <p:sp>
        <p:nvSpPr>
          <p:cNvPr id="44" name="TextBox 43">
            <a:extLst>
              <a:ext uri="{FF2B5EF4-FFF2-40B4-BE49-F238E27FC236}">
                <a16:creationId xmlns:a16="http://schemas.microsoft.com/office/drawing/2014/main" id="{4F66F026-2257-3DED-9E8D-81F8040502B9}"/>
              </a:ext>
            </a:extLst>
          </p:cNvPr>
          <p:cNvSpPr txBox="1"/>
          <p:nvPr/>
        </p:nvSpPr>
        <p:spPr>
          <a:xfrm>
            <a:off x="6834040" y="4985482"/>
            <a:ext cx="1691216" cy="646331"/>
          </a:xfrm>
          <a:prstGeom prst="rect">
            <a:avLst/>
          </a:prstGeom>
          <a:noFill/>
        </p:spPr>
        <p:txBody>
          <a:bodyPr wrap="square" rtlCol="0">
            <a:spAutoFit/>
          </a:bodyPr>
          <a:lstStyle/>
          <a:p>
            <a:pPr algn="ctr"/>
            <a:r>
              <a:rPr lang="en-GB" i="1" dirty="0"/>
              <a:t>Ready Made Solution 3</a:t>
            </a:r>
          </a:p>
        </p:txBody>
      </p:sp>
      <p:sp>
        <p:nvSpPr>
          <p:cNvPr id="45" name="TextBox 44">
            <a:extLst>
              <a:ext uri="{FF2B5EF4-FFF2-40B4-BE49-F238E27FC236}">
                <a16:creationId xmlns:a16="http://schemas.microsoft.com/office/drawing/2014/main" id="{E1C663AD-50B3-FC08-6C56-0EC45C025853}"/>
              </a:ext>
            </a:extLst>
          </p:cNvPr>
          <p:cNvSpPr txBox="1"/>
          <p:nvPr/>
        </p:nvSpPr>
        <p:spPr>
          <a:xfrm>
            <a:off x="9434827" y="5009292"/>
            <a:ext cx="1691216" cy="646331"/>
          </a:xfrm>
          <a:prstGeom prst="rect">
            <a:avLst/>
          </a:prstGeom>
          <a:noFill/>
        </p:spPr>
        <p:txBody>
          <a:bodyPr wrap="square" rtlCol="0">
            <a:spAutoFit/>
          </a:bodyPr>
          <a:lstStyle/>
          <a:p>
            <a:pPr algn="ctr"/>
            <a:r>
              <a:rPr lang="en-GB" i="1" dirty="0"/>
              <a:t>Ready Made Solution 4</a:t>
            </a:r>
          </a:p>
        </p:txBody>
      </p:sp>
      <p:sp>
        <p:nvSpPr>
          <p:cNvPr id="46" name="Rectangle: Rounded Corners 45">
            <a:extLst>
              <a:ext uri="{FF2B5EF4-FFF2-40B4-BE49-F238E27FC236}">
                <a16:creationId xmlns:a16="http://schemas.microsoft.com/office/drawing/2014/main" id="{29087493-3C3C-8AEA-32F2-90F3B13A3883}"/>
              </a:ext>
            </a:extLst>
          </p:cNvPr>
          <p:cNvSpPr/>
          <p:nvPr/>
        </p:nvSpPr>
        <p:spPr>
          <a:xfrm>
            <a:off x="1931988" y="989574"/>
            <a:ext cx="1993392" cy="634490"/>
          </a:xfrm>
          <a:prstGeom prst="roundRect">
            <a:avLst/>
          </a:prstGeom>
          <a:noFill/>
          <a:ln w="12700">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T Ultra Lloyds Light" pitchFamily="50" charset="0"/>
                <a:ea typeface="+mn-ea"/>
                <a:cs typeface="+mn-cs"/>
              </a:rPr>
              <a:t>Bad</a:t>
            </a:r>
          </a:p>
        </p:txBody>
      </p:sp>
      <p:sp>
        <p:nvSpPr>
          <p:cNvPr id="47" name="Rectangle: Rounded Corners 46">
            <a:extLst>
              <a:ext uri="{FF2B5EF4-FFF2-40B4-BE49-F238E27FC236}">
                <a16:creationId xmlns:a16="http://schemas.microsoft.com/office/drawing/2014/main" id="{E4C4698C-F31E-5449-1297-DCDC7168EC77}"/>
              </a:ext>
            </a:extLst>
          </p:cNvPr>
          <p:cNvSpPr/>
          <p:nvPr/>
        </p:nvSpPr>
        <p:spPr>
          <a:xfrm>
            <a:off x="7972267" y="989574"/>
            <a:ext cx="1993392" cy="634490"/>
          </a:xfrm>
          <a:prstGeom prst="roundRect">
            <a:avLst/>
          </a:prstGeom>
          <a:noFill/>
          <a:ln w="12700">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T Ultra Lloyds Light" pitchFamily="50" charset="0"/>
                <a:ea typeface="+mn-ea"/>
                <a:cs typeface="+mn-cs"/>
              </a:rPr>
              <a:t>Good</a:t>
            </a:r>
          </a:p>
        </p:txBody>
      </p:sp>
    </p:spTree>
    <p:extLst>
      <p:ext uri="{BB962C8B-B14F-4D97-AF65-F5344CB8AC3E}">
        <p14:creationId xmlns:p14="http://schemas.microsoft.com/office/powerpoint/2010/main" val="3595871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76234-7788-27DE-7B0B-12B35D16EA4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15155CE-8534-9F09-5285-9525F2B5FBE9}"/>
              </a:ext>
            </a:extLst>
          </p:cNvPr>
          <p:cNvSpPr>
            <a:spLocks noGrp="1"/>
          </p:cNvSpPr>
          <p:nvPr>
            <p:ph type="body" sz="quarter" idx="12"/>
          </p:nvPr>
        </p:nvSpPr>
        <p:spPr>
          <a:xfrm>
            <a:off x="1010480" y="2086182"/>
            <a:ext cx="10610019" cy="2243791"/>
          </a:xfrm>
        </p:spPr>
        <p:txBody>
          <a:bodyPr/>
          <a:lstStyle/>
          <a:p>
            <a:r>
              <a:rPr lang="en-GB" sz="5160" dirty="0">
                <a:latin typeface="GT Ultra Median Lloyds Black"/>
              </a:rPr>
              <a:t>Use cases we are looking at</a:t>
            </a:r>
            <a:endParaRPr lang="en-GB" sz="5160" dirty="0"/>
          </a:p>
        </p:txBody>
      </p:sp>
      <p:sp>
        <p:nvSpPr>
          <p:cNvPr id="4" name="Slide Number Placeholder 3">
            <a:extLst>
              <a:ext uri="{FF2B5EF4-FFF2-40B4-BE49-F238E27FC236}">
                <a16:creationId xmlns:a16="http://schemas.microsoft.com/office/drawing/2014/main" id="{58833913-954F-C5CD-AD3A-2FE16BE12CB3}"/>
              </a:ext>
            </a:extLst>
          </p:cNvPr>
          <p:cNvSpPr>
            <a:spLocks noGrp="1"/>
          </p:cNvSpPr>
          <p:nvPr>
            <p:ph type="sldNum" sz="quarter" idx="4"/>
          </p:nvPr>
        </p:nvSpPr>
        <p:spPr/>
        <p:txBody>
          <a:bodyPr/>
          <a:lstStyle/>
          <a:p>
            <a:fld id="{B6F15528-21DE-4FAA-801E-634DDDAF4B2B}" type="slidenum">
              <a:rPr lang="en-GB" smtClean="0"/>
              <a:pPr/>
              <a:t>6</a:t>
            </a:fld>
            <a:endParaRPr lang="en-GB"/>
          </a:p>
        </p:txBody>
      </p:sp>
    </p:spTree>
    <p:extLst>
      <p:ext uri="{BB962C8B-B14F-4D97-AF65-F5344CB8AC3E}">
        <p14:creationId xmlns:p14="http://schemas.microsoft.com/office/powerpoint/2010/main" val="215607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F7529-996E-A2D6-7845-17FA86479D1A}"/>
              </a:ext>
            </a:extLst>
          </p:cNvPr>
          <p:cNvSpPr>
            <a:spLocks noGrp="1"/>
          </p:cNvSpPr>
          <p:nvPr>
            <p:ph type="title"/>
          </p:nvPr>
        </p:nvSpPr>
        <p:spPr>
          <a:xfrm>
            <a:off x="398462" y="371349"/>
            <a:ext cx="11410950" cy="998855"/>
          </a:xfrm>
        </p:spPr>
        <p:txBody>
          <a:bodyPr>
            <a:normAutofit/>
          </a:bodyPr>
          <a:lstStyle/>
          <a:p>
            <a:pPr algn="l">
              <a:lnSpc>
                <a:spcPct val="90000"/>
              </a:lnSpc>
            </a:pPr>
            <a:r>
              <a:rPr lang="en-GB" sz="3200" b="1" dirty="0">
                <a:solidFill>
                  <a:prstClr val="black"/>
                </a:solidFill>
                <a:latin typeface="Poppins Medium" panose="00000600000000000000" pitchFamily="2" charset="0"/>
                <a:cs typeface="Poppins Medium" panose="00000600000000000000" pitchFamily="2" charset="0"/>
              </a:rPr>
              <a:t>FCA Segments &amp; LBG Use Cases</a:t>
            </a:r>
          </a:p>
        </p:txBody>
      </p:sp>
      <p:sp>
        <p:nvSpPr>
          <p:cNvPr id="4" name="Rectangle: Rounded Corners 3">
            <a:extLst>
              <a:ext uri="{FF2B5EF4-FFF2-40B4-BE49-F238E27FC236}">
                <a16:creationId xmlns:a16="http://schemas.microsoft.com/office/drawing/2014/main" id="{C461E172-EB26-224B-15D2-F381BA0C0D6F}"/>
              </a:ext>
            </a:extLst>
          </p:cNvPr>
          <p:cNvSpPr/>
          <p:nvPr/>
        </p:nvSpPr>
        <p:spPr>
          <a:xfrm>
            <a:off x="377988" y="1589863"/>
            <a:ext cx="2173709" cy="4864910"/>
          </a:xfrm>
          <a:prstGeom prst="roundRect">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latin typeface="GT Ultra Median Lloyds Regular" pitchFamily="50" charset="0"/>
              </a:rPr>
              <a:t>Under Investors</a:t>
            </a:r>
          </a:p>
        </p:txBody>
      </p:sp>
      <p:sp>
        <p:nvSpPr>
          <p:cNvPr id="6" name="Rectangle: Rounded Corners 5">
            <a:extLst>
              <a:ext uri="{FF2B5EF4-FFF2-40B4-BE49-F238E27FC236}">
                <a16:creationId xmlns:a16="http://schemas.microsoft.com/office/drawing/2014/main" id="{D1953796-CD26-8690-A0EB-7392C1E857DF}"/>
              </a:ext>
            </a:extLst>
          </p:cNvPr>
          <p:cNvSpPr/>
          <p:nvPr/>
        </p:nvSpPr>
        <p:spPr>
          <a:xfrm>
            <a:off x="7556507" y="1537956"/>
            <a:ext cx="2030991" cy="4916818"/>
          </a:xfrm>
          <a:prstGeom prst="roundRect">
            <a:avLst/>
          </a:prstGeom>
          <a:solidFill>
            <a:srgbClr val="C7FF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solidFill>
                  <a:schemeClr val="tx1"/>
                </a:solidFill>
                <a:latin typeface="GT Ultra Median Lloyds Regular" pitchFamily="50" charset="0"/>
              </a:rPr>
              <a:t>Over Investors</a:t>
            </a:r>
          </a:p>
        </p:txBody>
      </p:sp>
      <p:sp>
        <p:nvSpPr>
          <p:cNvPr id="7" name="Rectangle: Rounded Corners 6">
            <a:extLst>
              <a:ext uri="{FF2B5EF4-FFF2-40B4-BE49-F238E27FC236}">
                <a16:creationId xmlns:a16="http://schemas.microsoft.com/office/drawing/2014/main" id="{F8FB0043-A651-7E07-B06A-48B3CF01E92B}"/>
              </a:ext>
            </a:extLst>
          </p:cNvPr>
          <p:cNvSpPr/>
          <p:nvPr/>
        </p:nvSpPr>
        <p:spPr>
          <a:xfrm>
            <a:off x="5147993" y="1547853"/>
            <a:ext cx="2178724" cy="4906921"/>
          </a:xfrm>
          <a:prstGeom prst="roundRect">
            <a:avLst/>
          </a:prstGeom>
          <a:solidFill>
            <a:srgbClr val="11B6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latin typeface="GT Ultra Median Lloyds Regular" pitchFamily="50" charset="0"/>
              </a:rPr>
              <a:t>Disengaged Investors</a:t>
            </a:r>
          </a:p>
        </p:txBody>
      </p:sp>
      <p:sp>
        <p:nvSpPr>
          <p:cNvPr id="8" name="Rectangle: Rounded Corners 7">
            <a:extLst>
              <a:ext uri="{FF2B5EF4-FFF2-40B4-BE49-F238E27FC236}">
                <a16:creationId xmlns:a16="http://schemas.microsoft.com/office/drawing/2014/main" id="{FB6179C5-C89F-B9B5-9832-9A6831136732}"/>
              </a:ext>
            </a:extLst>
          </p:cNvPr>
          <p:cNvSpPr/>
          <p:nvPr/>
        </p:nvSpPr>
        <p:spPr>
          <a:xfrm>
            <a:off x="2737901" y="1587014"/>
            <a:ext cx="2180302" cy="4867759"/>
          </a:xfrm>
          <a:prstGeom prst="roundRect">
            <a:avLst/>
          </a:prstGeom>
          <a:solidFill>
            <a:srgbClr val="006A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latin typeface="GT Ultra Median Lloyds Regular" pitchFamily="50" charset="0"/>
              </a:rPr>
              <a:t>Misaligned Investors</a:t>
            </a:r>
          </a:p>
        </p:txBody>
      </p:sp>
      <p:sp>
        <p:nvSpPr>
          <p:cNvPr id="11" name="TextBox 10">
            <a:extLst>
              <a:ext uri="{FF2B5EF4-FFF2-40B4-BE49-F238E27FC236}">
                <a16:creationId xmlns:a16="http://schemas.microsoft.com/office/drawing/2014/main" id="{A44D73C5-1AF1-745A-9AD8-F70EE98B7D73}"/>
              </a:ext>
            </a:extLst>
          </p:cNvPr>
          <p:cNvSpPr txBox="1"/>
          <p:nvPr/>
        </p:nvSpPr>
        <p:spPr>
          <a:xfrm>
            <a:off x="514439" y="2382579"/>
            <a:ext cx="2040491" cy="3447098"/>
          </a:xfrm>
          <a:prstGeom prst="rect">
            <a:avLst/>
          </a:prstGeom>
          <a:noFill/>
        </p:spPr>
        <p:txBody>
          <a:bodyPr wrap="square" rtlCol="0">
            <a:spAutoFit/>
          </a:bodyPr>
          <a:lstStyle/>
          <a:p>
            <a:pPr marL="342900" indent="-342900">
              <a:buFont typeface="+mj-lt"/>
              <a:buAutoNum type="arabicPeriod"/>
            </a:pPr>
            <a:r>
              <a:rPr lang="en-GB" sz="1200" b="1">
                <a:solidFill>
                  <a:schemeClr val="bg1"/>
                </a:solidFill>
                <a:latin typeface="GT Ultra Median Lloyds Regular" pitchFamily="50" charset="0"/>
              </a:rPr>
              <a:t>Regular savers</a:t>
            </a:r>
            <a:r>
              <a:rPr lang="en-GB" sz="1200" b="1" baseline="30000">
                <a:solidFill>
                  <a:schemeClr val="bg1"/>
                </a:solidFill>
                <a:latin typeface="GT Ultra Median Lloyds Regular" pitchFamily="50" charset="0"/>
              </a:rPr>
              <a:t>1</a:t>
            </a:r>
            <a:r>
              <a:rPr lang="en-GB" sz="1200" b="1">
                <a:solidFill>
                  <a:schemeClr val="bg1"/>
                </a:solidFill>
                <a:latin typeface="GT Ultra Median Lloyds Regular" pitchFamily="50" charset="0"/>
              </a:rPr>
              <a:t>  </a:t>
            </a:r>
            <a:r>
              <a:rPr lang="en-GB" sz="1200">
                <a:solidFill>
                  <a:schemeClr val="bg1"/>
                </a:solidFill>
                <a:latin typeface="GT Ultra Median Lloyds Regular" pitchFamily="50" charset="0"/>
              </a:rPr>
              <a:t>–  Not Investing</a:t>
            </a:r>
          </a:p>
          <a:p>
            <a:pPr marL="342900" indent="-342900">
              <a:buFont typeface="+mj-lt"/>
              <a:buAutoNum type="arabicPeriod"/>
            </a:pPr>
            <a:endParaRPr lang="en-GB" sz="1200" b="1">
              <a:solidFill>
                <a:schemeClr val="bg1"/>
              </a:solidFill>
              <a:latin typeface="GT Ultra Median Lloyds Regular" pitchFamily="50" charset="0"/>
            </a:endParaRPr>
          </a:p>
          <a:p>
            <a:pPr marL="342900" indent="-342900">
              <a:buFont typeface="+mj-lt"/>
              <a:buAutoNum type="arabicPeriod"/>
            </a:pPr>
            <a:r>
              <a:rPr lang="en-GB" sz="1200" b="1">
                <a:solidFill>
                  <a:schemeClr val="bg1"/>
                </a:solidFill>
                <a:latin typeface="GT Ultra Median Lloyds Regular" pitchFamily="50" charset="0"/>
              </a:rPr>
              <a:t>Large cash deposits - </a:t>
            </a:r>
            <a:r>
              <a:rPr lang="en-GB" sz="1200">
                <a:solidFill>
                  <a:schemeClr val="bg1"/>
                </a:solidFill>
                <a:latin typeface="GT Ultra Median Lloyds Regular" pitchFamily="50" charset="0"/>
              </a:rPr>
              <a:t>Not Investing</a:t>
            </a:r>
          </a:p>
          <a:p>
            <a:pPr marL="342900" indent="-342900">
              <a:buFont typeface="+mj-lt"/>
              <a:buAutoNum type="arabicPeriod"/>
            </a:pPr>
            <a:endParaRPr lang="en-GB" sz="1200" b="1">
              <a:solidFill>
                <a:schemeClr val="bg1"/>
              </a:solidFill>
              <a:latin typeface="GT Ultra Median Lloyds Regular" pitchFamily="50" charset="0"/>
            </a:endParaRPr>
          </a:p>
          <a:p>
            <a:pPr marL="342900" indent="-342900">
              <a:buFont typeface="+mj-lt"/>
              <a:buAutoNum type="arabicPeriod"/>
            </a:pPr>
            <a:endParaRPr lang="en-GB" sz="1200">
              <a:solidFill>
                <a:schemeClr val="bg1"/>
              </a:solidFill>
              <a:latin typeface="GT Ultra Median Lloyds Regular" pitchFamily="50" charset="0"/>
            </a:endParaRPr>
          </a:p>
          <a:p>
            <a:pPr marL="342900" indent="-342900">
              <a:buFont typeface="+mj-lt"/>
              <a:buAutoNum type="arabicPeriod"/>
            </a:pPr>
            <a:r>
              <a:rPr lang="en-GB" sz="1200" b="1">
                <a:solidFill>
                  <a:schemeClr val="bg1"/>
                </a:solidFill>
                <a:latin typeface="GT Ultra Median Lloyds Regular" pitchFamily="50" charset="0"/>
              </a:rPr>
              <a:t>Light investors who could do more </a:t>
            </a:r>
            <a:r>
              <a:rPr lang="en-GB" sz="1200">
                <a:solidFill>
                  <a:schemeClr val="bg1"/>
                </a:solidFill>
                <a:latin typeface="GT Ultra Median Lloyds Regular" pitchFamily="50" charset="0"/>
              </a:rPr>
              <a:t>– Existing Investor</a:t>
            </a:r>
          </a:p>
          <a:p>
            <a:pPr marL="342900" indent="-342900">
              <a:buFont typeface="+mj-lt"/>
              <a:buAutoNum type="arabicPeriod"/>
            </a:pPr>
            <a:endParaRPr lang="en-GB" sz="1200" b="1">
              <a:solidFill>
                <a:schemeClr val="bg1"/>
              </a:solidFill>
              <a:latin typeface="GT Ultra Median Lloyds Regular" pitchFamily="50" charset="0"/>
            </a:endParaRPr>
          </a:p>
          <a:p>
            <a:pPr marL="342900" indent="-342900">
              <a:buFont typeface="+mj-lt"/>
              <a:buAutoNum type="arabicPeriod"/>
            </a:pPr>
            <a:r>
              <a:rPr lang="en-GB" sz="1200" b="1">
                <a:solidFill>
                  <a:schemeClr val="bg1"/>
                </a:solidFill>
                <a:latin typeface="GT Ultra Median Lloyds Regular" pitchFamily="50" charset="0"/>
              </a:rPr>
              <a:t>State Pension Reliant</a:t>
            </a:r>
            <a:r>
              <a:rPr lang="en-GB" sz="1200">
                <a:solidFill>
                  <a:schemeClr val="bg1"/>
                </a:solidFill>
                <a:latin typeface="GT Ultra Median Lloyds Regular" pitchFamily="50" charset="0"/>
              </a:rPr>
              <a:t>- Not Investing</a:t>
            </a:r>
          </a:p>
          <a:p>
            <a:pPr marL="342900" indent="-342900">
              <a:buFont typeface="+mj-lt"/>
              <a:buAutoNum type="arabicPeriod"/>
            </a:pPr>
            <a:endParaRPr lang="en-GB" sz="1200">
              <a:solidFill>
                <a:schemeClr val="bg1"/>
              </a:solidFill>
              <a:latin typeface="GT Ultra Median Lloyds Regular" pitchFamily="50" charset="0"/>
            </a:endParaRPr>
          </a:p>
          <a:p>
            <a:endParaRPr lang="en-GB" sz="1200">
              <a:solidFill>
                <a:schemeClr val="bg1"/>
              </a:solidFill>
              <a:latin typeface="GT Ultra Median Lloyds Regular" pitchFamily="50" charset="0"/>
            </a:endParaRPr>
          </a:p>
          <a:p>
            <a:pPr marL="342900" indent="-342900">
              <a:buFont typeface="+mj-lt"/>
              <a:buAutoNum type="arabicPeriod"/>
            </a:pPr>
            <a:endParaRPr lang="en-GB" sz="1200">
              <a:solidFill>
                <a:schemeClr val="bg1"/>
              </a:solidFill>
              <a:latin typeface="GT Ultra Median Lloyds Regular" pitchFamily="50" charset="0"/>
            </a:endParaRPr>
          </a:p>
          <a:p>
            <a:pPr marL="342900" indent="-342900">
              <a:buFont typeface="+mj-lt"/>
              <a:buAutoNum type="arabicPeriod"/>
            </a:pPr>
            <a:endParaRPr lang="en-GB" sz="1400">
              <a:solidFill>
                <a:schemeClr val="bg1"/>
              </a:solidFill>
              <a:latin typeface="GT Ultra Median Lloyds Regular" pitchFamily="50" charset="0"/>
            </a:endParaRPr>
          </a:p>
        </p:txBody>
      </p:sp>
      <p:sp>
        <p:nvSpPr>
          <p:cNvPr id="12" name="TextBox 11">
            <a:extLst>
              <a:ext uri="{FF2B5EF4-FFF2-40B4-BE49-F238E27FC236}">
                <a16:creationId xmlns:a16="http://schemas.microsoft.com/office/drawing/2014/main" id="{31BFA650-05E4-9AC9-BB28-303780571B3A}"/>
              </a:ext>
            </a:extLst>
          </p:cNvPr>
          <p:cNvSpPr txBox="1"/>
          <p:nvPr/>
        </p:nvSpPr>
        <p:spPr>
          <a:xfrm>
            <a:off x="5149122" y="2302897"/>
            <a:ext cx="2092089" cy="2708434"/>
          </a:xfrm>
          <a:prstGeom prst="rect">
            <a:avLst/>
          </a:prstGeom>
          <a:noFill/>
        </p:spPr>
        <p:txBody>
          <a:bodyPr wrap="square" lIns="91440" tIns="45720" rIns="91440" bIns="45720" rtlCol="0" anchor="t">
            <a:spAutoFit/>
          </a:bodyPr>
          <a:lstStyle/>
          <a:p>
            <a:pPr marL="342900" indent="-342900">
              <a:buFont typeface="+mj-lt"/>
              <a:buAutoNum type="arabicPeriod"/>
            </a:pPr>
            <a:r>
              <a:rPr lang="en-GB" sz="1200" b="1">
                <a:solidFill>
                  <a:schemeClr val="bg1"/>
                </a:solidFill>
                <a:latin typeface="GT Ultra Median Lloyds Regular"/>
              </a:rPr>
              <a:t>No longer invested  – </a:t>
            </a:r>
            <a:r>
              <a:rPr lang="en-GB" sz="1200">
                <a:solidFill>
                  <a:schemeClr val="bg1"/>
                </a:solidFill>
                <a:latin typeface="GT Ultra Median Lloyds Regular"/>
              </a:rPr>
              <a:t>have traded or funded in the past but now zero balance</a:t>
            </a:r>
          </a:p>
          <a:p>
            <a:pPr marL="342900" indent="-342900">
              <a:buFont typeface="+mj-lt"/>
              <a:buAutoNum type="arabicPeriod"/>
            </a:pPr>
            <a:endParaRPr lang="en-GB" sz="1200">
              <a:solidFill>
                <a:schemeClr val="bg1"/>
              </a:solidFill>
              <a:latin typeface="GT Ultra Median Lloyds Regular"/>
            </a:endParaRPr>
          </a:p>
          <a:p>
            <a:pPr marL="342900" indent="-342900">
              <a:buFont typeface="+mj-lt"/>
              <a:buAutoNum type="arabicPeriod"/>
            </a:pPr>
            <a:r>
              <a:rPr lang="en-GB" sz="1200" b="1">
                <a:solidFill>
                  <a:schemeClr val="bg1"/>
                </a:solidFill>
                <a:latin typeface="GT Ultra Median Lloyds Regular"/>
              </a:rPr>
              <a:t>Customers that have not completed self review of portfolio </a:t>
            </a:r>
            <a:r>
              <a:rPr lang="en-GB" sz="1200">
                <a:solidFill>
                  <a:schemeClr val="bg1"/>
                </a:solidFill>
                <a:latin typeface="GT Ultra Median Lloyds Regular"/>
              </a:rPr>
              <a:t>– Fee and performance review.</a:t>
            </a:r>
          </a:p>
          <a:p>
            <a:pPr marL="342900" indent="-342900">
              <a:buFont typeface="+mj-lt"/>
              <a:buAutoNum type="arabicPeriod"/>
            </a:pPr>
            <a:endParaRPr lang="en-GB" sz="1200" b="1">
              <a:solidFill>
                <a:schemeClr val="bg1"/>
              </a:solidFill>
              <a:latin typeface="GT Ultra Median Lloyds Regular" pitchFamily="50" charset="0"/>
            </a:endParaRPr>
          </a:p>
          <a:p>
            <a:endParaRPr lang="en-GB" sz="1200">
              <a:solidFill>
                <a:schemeClr val="bg1"/>
              </a:solidFill>
              <a:latin typeface="GT Ultra Median Lloyds Regular" pitchFamily="50" charset="0"/>
            </a:endParaRPr>
          </a:p>
          <a:p>
            <a:endParaRPr lang="en-GB" sz="1200">
              <a:solidFill>
                <a:schemeClr val="bg1"/>
              </a:solidFill>
              <a:latin typeface="GT Ultra Median Lloyds Regular" pitchFamily="50" charset="0"/>
            </a:endParaRPr>
          </a:p>
          <a:p>
            <a:pPr marL="342900" indent="-342900">
              <a:buFont typeface="+mj-lt"/>
              <a:buAutoNum type="arabicPeriod"/>
            </a:pPr>
            <a:endParaRPr lang="en-GB" sz="1400">
              <a:solidFill>
                <a:schemeClr val="bg1"/>
              </a:solidFill>
              <a:latin typeface="GT Ultra Median Lloyds Regular" pitchFamily="50" charset="0"/>
            </a:endParaRPr>
          </a:p>
        </p:txBody>
      </p:sp>
      <p:sp>
        <p:nvSpPr>
          <p:cNvPr id="13" name="TextBox 12">
            <a:extLst>
              <a:ext uri="{FF2B5EF4-FFF2-40B4-BE49-F238E27FC236}">
                <a16:creationId xmlns:a16="http://schemas.microsoft.com/office/drawing/2014/main" id="{C3CE22BB-F22D-CCE3-D7C3-FB569CBD59DE}"/>
              </a:ext>
            </a:extLst>
          </p:cNvPr>
          <p:cNvSpPr txBox="1"/>
          <p:nvPr/>
        </p:nvSpPr>
        <p:spPr>
          <a:xfrm>
            <a:off x="7543541" y="2382579"/>
            <a:ext cx="2098337" cy="1785104"/>
          </a:xfrm>
          <a:prstGeom prst="rect">
            <a:avLst/>
          </a:prstGeom>
          <a:noFill/>
        </p:spPr>
        <p:txBody>
          <a:bodyPr wrap="square" rtlCol="0">
            <a:spAutoFit/>
          </a:bodyPr>
          <a:lstStyle/>
          <a:p>
            <a:pPr marL="342900" indent="-342900">
              <a:buFont typeface="+mj-lt"/>
              <a:buAutoNum type="arabicPeriod"/>
            </a:pPr>
            <a:r>
              <a:rPr lang="en-GB" sz="1200" b="1">
                <a:latin typeface="GT Ultra Median Lloyds Regular" pitchFamily="50" charset="0"/>
              </a:rPr>
              <a:t>Insufficient Cash Holdings </a:t>
            </a:r>
            <a:r>
              <a:rPr lang="en-GB" sz="1200">
                <a:latin typeface="GT Ultra Median Lloyds Regular" pitchFamily="50" charset="0"/>
              </a:rPr>
              <a:t>– Existing Investor</a:t>
            </a:r>
          </a:p>
          <a:p>
            <a:pPr marL="342900" indent="-342900">
              <a:buFont typeface="+mj-lt"/>
              <a:buAutoNum type="arabicPeriod"/>
            </a:pPr>
            <a:endParaRPr lang="en-GB" sz="1200" b="1">
              <a:latin typeface="GT Ultra Median Lloyds Regular" pitchFamily="50" charset="0"/>
            </a:endParaRPr>
          </a:p>
          <a:p>
            <a:pPr marL="342900" indent="-342900">
              <a:buFont typeface="+mj-lt"/>
              <a:buAutoNum type="arabicPeriod"/>
            </a:pPr>
            <a:r>
              <a:rPr lang="en-GB" sz="1200" b="1">
                <a:latin typeface="GT Ultra Median Lloyds Regular" pitchFamily="50" charset="0"/>
              </a:rPr>
              <a:t>Over Indebted Investor </a:t>
            </a:r>
            <a:r>
              <a:rPr lang="en-GB" sz="1200">
                <a:latin typeface="GT Ultra Median Lloyds Regular" pitchFamily="50" charset="0"/>
              </a:rPr>
              <a:t>– Existing Investor</a:t>
            </a:r>
          </a:p>
          <a:p>
            <a:pPr marL="342900" indent="-342900">
              <a:buFont typeface="+mj-lt"/>
              <a:buAutoNum type="arabicPeriod"/>
            </a:pPr>
            <a:endParaRPr lang="en-GB" sz="1200">
              <a:latin typeface="GT Ultra Median Lloyds Regular" pitchFamily="50" charset="0"/>
            </a:endParaRPr>
          </a:p>
          <a:p>
            <a:pPr marL="342900" indent="-342900">
              <a:buFont typeface="+mj-lt"/>
              <a:buAutoNum type="arabicPeriod"/>
            </a:pPr>
            <a:endParaRPr lang="en-GB" sz="1400">
              <a:latin typeface="GT Ultra Median Lloyds Regular" pitchFamily="50" charset="0"/>
            </a:endParaRPr>
          </a:p>
        </p:txBody>
      </p:sp>
      <p:sp>
        <p:nvSpPr>
          <p:cNvPr id="14" name="TextBox 13">
            <a:extLst>
              <a:ext uri="{FF2B5EF4-FFF2-40B4-BE49-F238E27FC236}">
                <a16:creationId xmlns:a16="http://schemas.microsoft.com/office/drawing/2014/main" id="{853A1F0F-E247-06FB-6AA2-154F06D64454}"/>
              </a:ext>
            </a:extLst>
          </p:cNvPr>
          <p:cNvSpPr txBox="1"/>
          <p:nvPr/>
        </p:nvSpPr>
        <p:spPr>
          <a:xfrm>
            <a:off x="2798641" y="2336245"/>
            <a:ext cx="2017028" cy="3785652"/>
          </a:xfrm>
          <a:prstGeom prst="rect">
            <a:avLst/>
          </a:prstGeom>
          <a:noFill/>
        </p:spPr>
        <p:txBody>
          <a:bodyPr wrap="square" lIns="0" tIns="45720" rIns="36000" bIns="45720" rtlCol="0" anchor="t">
            <a:spAutoFit/>
          </a:bodyPr>
          <a:lstStyle/>
          <a:p>
            <a:pPr marL="342900" indent="-342900">
              <a:buFont typeface="+mj-lt"/>
              <a:buAutoNum type="arabicPeriod"/>
            </a:pPr>
            <a:r>
              <a:rPr lang="en-GB" sz="1200" b="1">
                <a:solidFill>
                  <a:schemeClr val="bg1"/>
                </a:solidFill>
                <a:latin typeface="GT Ultra Median Lloyds Regular"/>
              </a:rPr>
              <a:t>Not Diversified – existing investor </a:t>
            </a:r>
            <a:r>
              <a:rPr lang="en-GB" sz="1200">
                <a:solidFill>
                  <a:schemeClr val="bg1"/>
                </a:solidFill>
                <a:latin typeface="GT Ultra Median Lloyds Regular"/>
              </a:rPr>
              <a:t>only trading in a single company stock</a:t>
            </a:r>
          </a:p>
          <a:p>
            <a:pPr marL="342900" indent="-342900">
              <a:buAutoNum type="arabicPeriod"/>
            </a:pPr>
            <a:endParaRPr lang="en-GB" sz="1200">
              <a:solidFill>
                <a:schemeClr val="bg1"/>
              </a:solidFill>
              <a:latin typeface="GT Ultra Median Lloyds Regular" pitchFamily="50" charset="0"/>
            </a:endParaRPr>
          </a:p>
          <a:p>
            <a:pPr marL="342900" indent="-342900">
              <a:buFontTx/>
              <a:buAutoNum type="arabicPeriod"/>
            </a:pPr>
            <a:r>
              <a:rPr lang="en-GB" sz="1200" b="1">
                <a:solidFill>
                  <a:schemeClr val="bg1"/>
                </a:solidFill>
                <a:latin typeface="GT Ultra Median Lloyds Regular"/>
              </a:rPr>
              <a:t>Wrong wrapper – </a:t>
            </a:r>
            <a:r>
              <a:rPr lang="en-GB" sz="1200">
                <a:solidFill>
                  <a:schemeClr val="bg1"/>
                </a:solidFill>
                <a:latin typeface="GT Ultra Median Lloyds Regular"/>
              </a:rPr>
              <a:t>existing investor (ISA/GIA)</a:t>
            </a:r>
          </a:p>
          <a:p>
            <a:pPr marL="342900" indent="-342900">
              <a:buFontTx/>
              <a:buAutoNum type="arabicPeriod"/>
            </a:pPr>
            <a:endParaRPr lang="en-GB" sz="1200" b="1">
              <a:solidFill>
                <a:schemeClr val="bg1"/>
              </a:solidFill>
              <a:latin typeface="GT Ultra Median Lloyds Regular"/>
            </a:endParaRPr>
          </a:p>
          <a:p>
            <a:pPr marL="342900" indent="-342900">
              <a:buFontTx/>
              <a:buAutoNum type="arabicPeriod"/>
            </a:pPr>
            <a:r>
              <a:rPr lang="en-GB" sz="1200" b="1">
                <a:solidFill>
                  <a:schemeClr val="bg1"/>
                </a:solidFill>
                <a:latin typeface="GT Ultra Median Lloyds Regular"/>
              </a:rPr>
              <a:t>Inappropriate risk appetite –</a:t>
            </a:r>
            <a:r>
              <a:rPr lang="en-GB" sz="1200">
                <a:solidFill>
                  <a:schemeClr val="bg1"/>
                </a:solidFill>
                <a:latin typeface="GT Ultra Median Lloyds Regular"/>
              </a:rPr>
              <a:t> Trading in MGF2, but could be trading in higher risk.</a:t>
            </a:r>
            <a:endParaRPr lang="en-GB" sz="1200">
              <a:solidFill>
                <a:schemeClr val="bg1"/>
              </a:solidFill>
              <a:latin typeface="GT Ultra Median Lloyds Regular" pitchFamily="50" charset="0"/>
            </a:endParaRPr>
          </a:p>
          <a:p>
            <a:pPr marL="342900" indent="-342900">
              <a:buFontTx/>
              <a:buAutoNum type="arabicPeriod"/>
            </a:pPr>
            <a:endParaRPr lang="en-GB" sz="1200" b="1">
              <a:solidFill>
                <a:schemeClr val="bg1"/>
              </a:solidFill>
              <a:latin typeface="GT Ultra Median Lloyds Regular"/>
            </a:endParaRPr>
          </a:p>
          <a:p>
            <a:pPr marL="342900" indent="-342900">
              <a:buFont typeface="+mj-lt"/>
              <a:buAutoNum type="arabicPeriod"/>
            </a:pPr>
            <a:r>
              <a:rPr lang="en-GB" sz="1200" b="1">
                <a:solidFill>
                  <a:schemeClr val="bg1"/>
                </a:solidFill>
                <a:latin typeface="GT Ultra Median Lloyds Regular" pitchFamily="50" charset="0"/>
              </a:rPr>
              <a:t>Wrong Fund Type </a:t>
            </a:r>
            <a:r>
              <a:rPr lang="en-GB" sz="1200">
                <a:solidFill>
                  <a:schemeClr val="bg1"/>
                </a:solidFill>
                <a:latin typeface="GT Ultra Median Lloyds Regular" pitchFamily="50" charset="0"/>
              </a:rPr>
              <a:t>– Customer in an accumulation fund but would be better in income (or vice versa).</a:t>
            </a:r>
          </a:p>
          <a:p>
            <a:pPr marL="342900" indent="-342900">
              <a:buFont typeface="+mj-lt"/>
              <a:buAutoNum type="arabicPeriod"/>
            </a:pPr>
            <a:endParaRPr lang="en-GB" sz="1200">
              <a:solidFill>
                <a:schemeClr val="bg1"/>
              </a:solidFill>
              <a:latin typeface="GT Ultra Median Lloyds Regular" pitchFamily="50" charset="0"/>
            </a:endParaRPr>
          </a:p>
        </p:txBody>
      </p:sp>
      <p:sp>
        <p:nvSpPr>
          <p:cNvPr id="17" name="TextBox 16">
            <a:extLst>
              <a:ext uri="{FF2B5EF4-FFF2-40B4-BE49-F238E27FC236}">
                <a16:creationId xmlns:a16="http://schemas.microsoft.com/office/drawing/2014/main" id="{20B09078-0F34-BE0B-6313-34F62160B570}"/>
              </a:ext>
            </a:extLst>
          </p:cNvPr>
          <p:cNvSpPr txBox="1"/>
          <p:nvPr/>
        </p:nvSpPr>
        <p:spPr>
          <a:xfrm>
            <a:off x="382588" y="1073726"/>
            <a:ext cx="10698365" cy="523220"/>
          </a:xfrm>
          <a:prstGeom prst="rect">
            <a:avLst/>
          </a:prstGeom>
          <a:noFill/>
        </p:spPr>
        <p:txBody>
          <a:bodyPr wrap="square" rtlCol="0">
            <a:spAutoFit/>
          </a:bodyPr>
          <a:lstStyle/>
          <a:p>
            <a:r>
              <a:rPr lang="en-GB" sz="1400" dirty="0"/>
              <a:t>We see 14 potential use cases across the FCA’s four opportunity segments, with further sub-segment refinement needed to help us engage customers more effectively. Proposition focus has been on customers within the “accumulating wealth” stage </a:t>
            </a:r>
            <a:endParaRPr lang="en-GB" sz="1400" dirty="0">
              <a:latin typeface="+mn-lt"/>
            </a:endParaRPr>
          </a:p>
        </p:txBody>
      </p:sp>
      <p:sp>
        <p:nvSpPr>
          <p:cNvPr id="5" name="TextBox 4">
            <a:extLst>
              <a:ext uri="{FF2B5EF4-FFF2-40B4-BE49-F238E27FC236}">
                <a16:creationId xmlns:a16="http://schemas.microsoft.com/office/drawing/2014/main" id="{D5641186-B1FF-CD56-CCAD-1F2170726327}"/>
              </a:ext>
            </a:extLst>
          </p:cNvPr>
          <p:cNvSpPr txBox="1"/>
          <p:nvPr/>
        </p:nvSpPr>
        <p:spPr>
          <a:xfrm>
            <a:off x="240890" y="6609833"/>
            <a:ext cx="6921153" cy="215444"/>
          </a:xfrm>
          <a:prstGeom prst="rect">
            <a:avLst/>
          </a:prstGeom>
          <a:noFill/>
        </p:spPr>
        <p:txBody>
          <a:bodyPr wrap="square" lIns="91440" tIns="45720" rIns="91440" bIns="45720" rtlCol="0" anchor="t">
            <a:spAutoFit/>
          </a:bodyPr>
          <a:lstStyle/>
          <a:p>
            <a:r>
              <a:rPr lang="en-GB" sz="800" i="1" baseline="30000"/>
              <a:t>1</a:t>
            </a:r>
            <a:r>
              <a:rPr lang="en-GB" sz="800" i="1"/>
              <a:t> Dependant on re-pricing to bps</a:t>
            </a:r>
          </a:p>
        </p:txBody>
      </p:sp>
      <p:sp>
        <p:nvSpPr>
          <p:cNvPr id="3" name="Rectangle: Rounded Corners 2">
            <a:extLst>
              <a:ext uri="{FF2B5EF4-FFF2-40B4-BE49-F238E27FC236}">
                <a16:creationId xmlns:a16="http://schemas.microsoft.com/office/drawing/2014/main" id="{178EDCCA-AB5A-25DA-6051-CF049E33B9B6}"/>
              </a:ext>
            </a:extLst>
          </p:cNvPr>
          <p:cNvSpPr/>
          <p:nvPr/>
        </p:nvSpPr>
        <p:spPr>
          <a:xfrm>
            <a:off x="9735231" y="1537955"/>
            <a:ext cx="2254357" cy="4916819"/>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t"/>
          <a:lstStyle/>
          <a:p>
            <a:pPr algn="ctr"/>
            <a:r>
              <a:rPr lang="en-GB" dirty="0">
                <a:solidFill>
                  <a:schemeClr val="tx1"/>
                </a:solidFill>
                <a:latin typeface="GT Ultra Median Lloyds Regular"/>
              </a:rPr>
              <a:t>Negative Target Market</a:t>
            </a:r>
          </a:p>
          <a:p>
            <a:pPr marL="285750" indent="-285750">
              <a:buFont typeface="Arial" panose="020B0604020202020204" pitchFamily="34" charset="0"/>
              <a:buChar char="•"/>
            </a:pPr>
            <a:r>
              <a:rPr lang="en-GB" sz="1200" dirty="0">
                <a:solidFill>
                  <a:schemeClr val="tx1"/>
                </a:solidFill>
                <a:latin typeface="GT Ultra Median Lloyds Regular"/>
              </a:rPr>
              <a:t>Not managing everyday spend</a:t>
            </a:r>
          </a:p>
          <a:p>
            <a:pPr marL="285750" indent="-285750">
              <a:buFont typeface="Arial" panose="020B0604020202020204" pitchFamily="34" charset="0"/>
              <a:buChar char="•"/>
            </a:pPr>
            <a:r>
              <a:rPr lang="en-GB" sz="1200" dirty="0">
                <a:solidFill>
                  <a:schemeClr val="tx1"/>
                </a:solidFill>
                <a:latin typeface="GT Ultra Median Lloyds Regular"/>
              </a:rPr>
              <a:t>Insufficient cash reserve</a:t>
            </a:r>
          </a:p>
          <a:p>
            <a:pPr marL="285750" indent="-285750">
              <a:buFont typeface="Arial" panose="020B0604020202020204" pitchFamily="34" charset="0"/>
              <a:buChar char="•"/>
            </a:pPr>
            <a:r>
              <a:rPr lang="en-GB" sz="1200" dirty="0">
                <a:solidFill>
                  <a:schemeClr val="tx1"/>
                </a:solidFill>
                <a:latin typeface="GT Ultra Median Lloyds Regular" pitchFamily="50" charset="0"/>
              </a:rPr>
              <a:t>No appetite for investment risk</a:t>
            </a:r>
          </a:p>
          <a:p>
            <a:pPr marL="285750" indent="-285750">
              <a:buFont typeface="Arial" panose="020B0604020202020204" pitchFamily="34" charset="0"/>
              <a:buChar char="•"/>
            </a:pPr>
            <a:r>
              <a:rPr lang="en-GB" sz="1200" dirty="0">
                <a:solidFill>
                  <a:schemeClr val="tx1"/>
                </a:solidFill>
                <a:latin typeface="GT Ultra Median Lloyds Regular"/>
              </a:rPr>
              <a:t>Requires access &lt;5 years</a:t>
            </a:r>
          </a:p>
          <a:p>
            <a:pPr marL="285750" indent="-285750">
              <a:buFont typeface="Arial" panose="020B0604020202020204" pitchFamily="34" charset="0"/>
              <a:buChar char="•"/>
            </a:pPr>
            <a:r>
              <a:rPr lang="en-GB" sz="1200" dirty="0">
                <a:solidFill>
                  <a:schemeClr val="tx1"/>
                </a:solidFill>
                <a:latin typeface="GT Ultra Median Lloyds Regular" pitchFamily="50" charset="0"/>
              </a:rPr>
              <a:t>Outside of “target market” for solution – e.g. age, residency</a:t>
            </a:r>
          </a:p>
          <a:p>
            <a:pPr marL="285750" indent="-285750">
              <a:buFont typeface="Arial" panose="020B0604020202020204" pitchFamily="34" charset="0"/>
              <a:buChar char="•"/>
            </a:pPr>
            <a:r>
              <a:rPr lang="en-GB" sz="1200" dirty="0">
                <a:solidFill>
                  <a:schemeClr val="tx1"/>
                </a:solidFill>
                <a:latin typeface="GT Ultra Median Lloyds Regular" pitchFamily="50" charset="0"/>
              </a:rPr>
              <a:t>Showing signs of financial difficulty</a:t>
            </a:r>
          </a:p>
          <a:p>
            <a:pPr marL="285750" indent="-285750">
              <a:buFont typeface="Arial" panose="020B0604020202020204" pitchFamily="34" charset="0"/>
              <a:buChar char="•"/>
            </a:pPr>
            <a:r>
              <a:rPr lang="en-GB" sz="1200" dirty="0">
                <a:solidFill>
                  <a:schemeClr val="tx1"/>
                </a:solidFill>
                <a:latin typeface="GT Ultra Median Lloyds Regular"/>
              </a:rPr>
              <a:t>Financial vulnerability/at risk &amp; distress flag</a:t>
            </a:r>
          </a:p>
          <a:p>
            <a:pPr marL="285750" indent="-285750">
              <a:buFont typeface="Arial" panose="020B0604020202020204" pitchFamily="34" charset="0"/>
              <a:buChar char="•"/>
            </a:pPr>
            <a:r>
              <a:rPr lang="en-GB" sz="1200" dirty="0">
                <a:solidFill>
                  <a:schemeClr val="tx1"/>
                </a:solidFill>
                <a:latin typeface="GT Ultra Median Lloyds Regular"/>
              </a:rPr>
              <a:t>Exposed to high cost credit</a:t>
            </a:r>
          </a:p>
          <a:p>
            <a:pPr marL="285750" indent="-285750">
              <a:buFont typeface="Arial" panose="020B0604020202020204" pitchFamily="34" charset="0"/>
              <a:buChar char="•"/>
            </a:pPr>
            <a:r>
              <a:rPr lang="en-GB" sz="1200" dirty="0">
                <a:solidFill>
                  <a:schemeClr val="tx1"/>
                </a:solidFill>
                <a:latin typeface="GT Ultra Median Lloyds Regular" pitchFamily="50" charset="0"/>
              </a:rPr>
              <a:t>Negative marketing consent</a:t>
            </a:r>
          </a:p>
          <a:p>
            <a:pPr marL="285750" indent="-285750">
              <a:buFont typeface="Arial" panose="020B0604020202020204" pitchFamily="34" charset="0"/>
              <a:buChar char="•"/>
            </a:pPr>
            <a:r>
              <a:rPr lang="en-GB" sz="1200" dirty="0">
                <a:solidFill>
                  <a:schemeClr val="tx1"/>
                </a:solidFill>
                <a:latin typeface="GT Ultra Median Lloyds Regular"/>
              </a:rPr>
              <a:t>Not IB registered  </a:t>
            </a:r>
          </a:p>
          <a:p>
            <a:pPr marL="285750" indent="-285750">
              <a:buFont typeface="Arial" panose="020B0604020202020204" pitchFamily="34" charset="0"/>
              <a:buChar char="•"/>
            </a:pPr>
            <a:r>
              <a:rPr lang="en-GB" sz="1200" dirty="0">
                <a:solidFill>
                  <a:schemeClr val="tx1"/>
                </a:solidFill>
                <a:latin typeface="GT Ultra Median Lloyds Regular" pitchFamily="50" charset="0"/>
              </a:rPr>
              <a:t>Requires financial advice</a:t>
            </a:r>
          </a:p>
        </p:txBody>
      </p:sp>
      <p:sp>
        <p:nvSpPr>
          <p:cNvPr id="20" name="Rectangle: Rounded Corners 19">
            <a:extLst>
              <a:ext uri="{FF2B5EF4-FFF2-40B4-BE49-F238E27FC236}">
                <a16:creationId xmlns:a16="http://schemas.microsoft.com/office/drawing/2014/main" id="{29877481-70EB-D181-77B3-8254FB27DB88}"/>
              </a:ext>
            </a:extLst>
          </p:cNvPr>
          <p:cNvSpPr/>
          <p:nvPr/>
        </p:nvSpPr>
        <p:spPr>
          <a:xfrm>
            <a:off x="3050383" y="5897861"/>
            <a:ext cx="1631844" cy="485230"/>
          </a:xfrm>
          <a:prstGeom prst="roundRect">
            <a:avLst>
              <a:gd name="adj" fmla="val 50000"/>
            </a:avLst>
          </a:prstGeom>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GB" sz="1200" dirty="0"/>
              <a:t>Investments (IP&amp;I)</a:t>
            </a:r>
            <a:br>
              <a:rPr lang="en-GB" sz="1200" dirty="0"/>
            </a:br>
            <a:r>
              <a:rPr lang="en-GB" sz="1200" dirty="0"/>
              <a:t> focus area</a:t>
            </a:r>
          </a:p>
        </p:txBody>
      </p:sp>
      <p:sp>
        <p:nvSpPr>
          <p:cNvPr id="21" name="Rectangle: Rounded Corners 20">
            <a:extLst>
              <a:ext uri="{FF2B5EF4-FFF2-40B4-BE49-F238E27FC236}">
                <a16:creationId xmlns:a16="http://schemas.microsoft.com/office/drawing/2014/main" id="{97BEC1B8-2CAA-21FC-B46D-1EC7BA8BC289}"/>
              </a:ext>
            </a:extLst>
          </p:cNvPr>
          <p:cNvSpPr/>
          <p:nvPr/>
        </p:nvSpPr>
        <p:spPr>
          <a:xfrm>
            <a:off x="708663" y="5897861"/>
            <a:ext cx="1542774" cy="480909"/>
          </a:xfrm>
          <a:prstGeom prst="roundRect">
            <a:avLst>
              <a:gd name="adj" fmla="val 50000"/>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GB" sz="1200" dirty="0"/>
              <a:t>Consumer Relationships focus area</a:t>
            </a:r>
          </a:p>
        </p:txBody>
      </p:sp>
      <p:sp>
        <p:nvSpPr>
          <p:cNvPr id="15" name="Rectangle: Rounded Corners 14">
            <a:extLst>
              <a:ext uri="{FF2B5EF4-FFF2-40B4-BE49-F238E27FC236}">
                <a16:creationId xmlns:a16="http://schemas.microsoft.com/office/drawing/2014/main" id="{4CC39E96-70FB-A051-8B26-4A0F7012ABCD}"/>
              </a:ext>
            </a:extLst>
          </p:cNvPr>
          <p:cNvSpPr/>
          <p:nvPr/>
        </p:nvSpPr>
        <p:spPr>
          <a:xfrm>
            <a:off x="5338916" y="5897860"/>
            <a:ext cx="4073648" cy="417029"/>
          </a:xfrm>
          <a:prstGeom prst="roundRect">
            <a:avLst>
              <a:gd name="adj" fmla="val 50000"/>
            </a:avLst>
          </a:prstGeom>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GB" sz="1200" dirty="0"/>
              <a:t>Out of scope</a:t>
            </a:r>
          </a:p>
        </p:txBody>
      </p:sp>
      <p:sp>
        <p:nvSpPr>
          <p:cNvPr id="9" name="Rectangle 8">
            <a:extLst>
              <a:ext uri="{FF2B5EF4-FFF2-40B4-BE49-F238E27FC236}">
                <a16:creationId xmlns:a16="http://schemas.microsoft.com/office/drawing/2014/main" id="{04B410BD-7DA6-D922-8E91-149564E73BFF}"/>
              </a:ext>
            </a:extLst>
          </p:cNvPr>
          <p:cNvSpPr/>
          <p:nvPr/>
        </p:nvSpPr>
        <p:spPr>
          <a:xfrm>
            <a:off x="2784024" y="2312025"/>
            <a:ext cx="2038310" cy="908254"/>
          </a:xfrm>
          <a:prstGeom prst="rect">
            <a:avLst/>
          </a:prstGeom>
          <a:noFill/>
          <a:ln w="38100">
            <a:solidFill>
              <a:srgbClr val="6CF4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D0687953-30EF-A7FF-31CF-6B45F9E68EA3}"/>
              </a:ext>
            </a:extLst>
          </p:cNvPr>
          <p:cNvSpPr/>
          <p:nvPr/>
        </p:nvSpPr>
        <p:spPr>
          <a:xfrm>
            <a:off x="460938" y="2312024"/>
            <a:ext cx="2038310" cy="1116975"/>
          </a:xfrm>
          <a:prstGeom prst="rect">
            <a:avLst/>
          </a:prstGeom>
          <a:noFill/>
          <a:ln w="38100">
            <a:solidFill>
              <a:srgbClr val="6CF4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8625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Right 27">
            <a:extLst>
              <a:ext uri="{FF2B5EF4-FFF2-40B4-BE49-F238E27FC236}">
                <a16:creationId xmlns:a16="http://schemas.microsoft.com/office/drawing/2014/main" id="{7D6FC715-08BF-F1B5-56F2-B1BFAE2B39FE}"/>
              </a:ext>
            </a:extLst>
          </p:cNvPr>
          <p:cNvSpPr/>
          <p:nvPr/>
        </p:nvSpPr>
        <p:spPr>
          <a:xfrm>
            <a:off x="97262" y="760840"/>
            <a:ext cx="9842952" cy="1196011"/>
          </a:xfrm>
          <a:prstGeom prst="rightArrow">
            <a:avLst>
              <a:gd name="adj1" fmla="val 50000"/>
              <a:gd name="adj2" fmla="val 38970"/>
            </a:avLst>
          </a:prstGeom>
          <a:solidFill>
            <a:schemeClr val="bg1">
              <a:lumMod val="95000"/>
            </a:schemeClr>
          </a:solidFill>
          <a:ln w="6350">
            <a:prstDash val="sysDot"/>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Title 1">
            <a:extLst>
              <a:ext uri="{FF2B5EF4-FFF2-40B4-BE49-F238E27FC236}">
                <a16:creationId xmlns:a16="http://schemas.microsoft.com/office/drawing/2014/main" id="{B21A0A0C-4FBE-8AE0-3372-43EF78993E88}"/>
              </a:ext>
            </a:extLst>
          </p:cNvPr>
          <p:cNvSpPr>
            <a:spLocks noGrp="1"/>
          </p:cNvSpPr>
          <p:nvPr>
            <p:ph type="title"/>
          </p:nvPr>
        </p:nvSpPr>
        <p:spPr>
          <a:xfrm>
            <a:off x="382588" y="270639"/>
            <a:ext cx="9965467" cy="585664"/>
          </a:xfrm>
        </p:spPr>
        <p:txBody>
          <a:bodyPr>
            <a:normAutofit/>
          </a:bodyPr>
          <a:lstStyle/>
          <a:p>
            <a:r>
              <a:rPr lang="en-GB" sz="3200" b="1" dirty="0">
                <a:solidFill>
                  <a:prstClr val="black"/>
                </a:solidFill>
                <a:latin typeface="Poppins Medium" panose="00000600000000000000" pitchFamily="2" charset="0"/>
                <a:cs typeface="Poppins Medium" panose="00000600000000000000" pitchFamily="2" charset="0"/>
              </a:rPr>
              <a:t>Targeted Support In Action – Regular Savers</a:t>
            </a:r>
          </a:p>
        </p:txBody>
      </p:sp>
      <p:sp>
        <p:nvSpPr>
          <p:cNvPr id="3" name="TextBox 2">
            <a:extLst>
              <a:ext uri="{FF2B5EF4-FFF2-40B4-BE49-F238E27FC236}">
                <a16:creationId xmlns:a16="http://schemas.microsoft.com/office/drawing/2014/main" id="{B858DFEF-D0BE-E534-386A-7F2CB679A2B0}"/>
              </a:ext>
            </a:extLst>
          </p:cNvPr>
          <p:cNvSpPr txBox="1"/>
          <p:nvPr/>
        </p:nvSpPr>
        <p:spPr>
          <a:xfrm>
            <a:off x="229762" y="1015067"/>
            <a:ext cx="38299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Customer Situation</a:t>
            </a:r>
          </a:p>
        </p:txBody>
      </p:sp>
      <p:sp>
        <p:nvSpPr>
          <p:cNvPr id="15" name="Rectangle 14">
            <a:extLst>
              <a:ext uri="{FF2B5EF4-FFF2-40B4-BE49-F238E27FC236}">
                <a16:creationId xmlns:a16="http://schemas.microsoft.com/office/drawing/2014/main" id="{1BE37429-3901-FEC2-985B-834A3309830C}"/>
              </a:ext>
            </a:extLst>
          </p:cNvPr>
          <p:cNvSpPr/>
          <p:nvPr/>
        </p:nvSpPr>
        <p:spPr>
          <a:xfrm>
            <a:off x="3431451" y="1789899"/>
            <a:ext cx="3829961" cy="2463763"/>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GT Ultra Lloyds Light"/>
              </a:rPr>
              <a:t>Common characteristics</a:t>
            </a:r>
            <a:r>
              <a:rPr kumimoji="0" lang="en-GB" sz="1200" b="0" i="0" u="none" strike="noStrike" kern="0" cap="none" spc="0" normalizeH="0" baseline="0" noProof="0" dirty="0">
                <a:ln>
                  <a:noFill/>
                </a:ln>
                <a:solidFill>
                  <a:schemeClr val="bg1"/>
                </a:solidFill>
                <a:effectLst/>
                <a:uLnTx/>
                <a:uFillTx/>
                <a:latin typeface="GT Ultra Lloyds Light"/>
              </a:rPr>
              <a:t>:</a:t>
            </a:r>
            <a:endParaRPr lang="en-GB" sz="1200" b="0" i="0" u="none" strike="noStrike" kern="0" cap="none" spc="0" normalizeH="0" baseline="0" noProof="0" dirty="0">
              <a:ln>
                <a:noFill/>
              </a:ln>
              <a:solidFill>
                <a:schemeClr val="bg1"/>
              </a:solidFill>
              <a:effectLst/>
              <a:uLnTx/>
              <a:uFillTx/>
              <a:latin typeface="GT Ultra Lloyds Light"/>
            </a:endParaRPr>
          </a:p>
          <a:p>
            <a:pPr marL="0" marR="0" lvl="0"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A minimum of 3 months+ essential spending in cash </a:t>
            </a:r>
            <a:endParaRPr lang="en-GB" sz="1000" b="0" i="0" u="none" strike="noStrike" kern="900" cap="none" spc="0" normalizeH="0" baseline="0" noProof="0" dirty="0">
              <a:ln>
                <a:noFill/>
              </a:ln>
              <a:solidFill>
                <a:schemeClr val="bg1"/>
              </a:solidFill>
              <a:effectLst/>
              <a:uLnTx/>
              <a:uFillTx/>
              <a:latin typeface="GT Ultra Lloyds Light"/>
            </a:endParaRPr>
          </a:p>
          <a:p>
            <a:pPr marL="0" marR="0" lvl="0"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Regularly saving above minimum RMI entry point</a:t>
            </a:r>
            <a:endParaRPr lang="en-GB" sz="1000" b="0" i="0" u="none" strike="noStrike" kern="900" cap="none" spc="0" normalizeH="0" baseline="0" noProof="0" dirty="0">
              <a:ln>
                <a:noFill/>
              </a:ln>
              <a:solidFill>
                <a:schemeClr val="bg1"/>
              </a:solidFill>
              <a:effectLst/>
              <a:uLnTx/>
              <a:uFillTx/>
              <a:latin typeface="GT Ultra Lloyds Light"/>
            </a:endParaRPr>
          </a:p>
          <a:p>
            <a:pPr marL="0" marR="0" lvl="0"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Consistently managing everyday spending </a:t>
            </a:r>
            <a:endParaRPr lang="en-GB" sz="1000" b="0" i="0" u="none" strike="noStrike" kern="900" cap="none" spc="0" normalizeH="0" baseline="0" noProof="0" dirty="0">
              <a:ln>
                <a:noFill/>
              </a:ln>
              <a:solidFill>
                <a:schemeClr val="bg1"/>
              </a:solidFill>
              <a:effectLst/>
              <a:uLnTx/>
              <a:uFillTx/>
              <a:latin typeface="GT Ultra Lloyds Light"/>
            </a:endParaRPr>
          </a:p>
          <a:p>
            <a:pPr marL="398145" marR="0" lvl="2" indent="-2286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schemeClr val="bg1"/>
                </a:solidFill>
                <a:effectLst/>
                <a:uLnTx/>
                <a:uFillTx/>
                <a:latin typeface="GT Ultra Lloyds Light"/>
              </a:rPr>
              <a:t>Data that shows regular savings habit present</a:t>
            </a:r>
            <a:endParaRPr lang="en-GB" sz="1000" b="0" i="0" u="none" strike="noStrike" kern="900" cap="none" spc="0" normalizeH="0" baseline="0" noProof="0" dirty="0">
              <a:ln>
                <a:noFill/>
              </a:ln>
              <a:solidFill>
                <a:schemeClr val="bg1"/>
              </a:solidFill>
              <a:effectLst/>
              <a:uLnTx/>
              <a:uFillTx/>
              <a:latin typeface="GT Ultra Lloyds Light"/>
            </a:endParaRPr>
          </a:p>
          <a:p>
            <a:pPr marL="0" marR="0" lvl="1"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Between 18  - 75 (age bandings TBC)</a:t>
            </a:r>
            <a:endParaRPr lang="en-GB" sz="1000" b="0" i="0" u="none" strike="noStrike" kern="900" cap="none" spc="0" normalizeH="0" baseline="0" noProof="0" dirty="0">
              <a:ln>
                <a:noFill/>
              </a:ln>
              <a:solidFill>
                <a:schemeClr val="bg1"/>
              </a:solidFill>
              <a:effectLst/>
              <a:uLnTx/>
              <a:uFillTx/>
              <a:latin typeface="GT Ultra Lloyds Light"/>
            </a:endParaRPr>
          </a:p>
          <a:p>
            <a:pPr marL="0" marR="0" lvl="1"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Financially secure inclusion flag </a:t>
            </a:r>
            <a:endParaRPr lang="en-GB" sz="1000" b="0" i="0" u="none" strike="noStrike" kern="900" cap="none" spc="0" normalizeH="0" baseline="0" noProof="0" dirty="0">
              <a:ln>
                <a:noFill/>
              </a:ln>
              <a:solidFill>
                <a:schemeClr val="bg1"/>
              </a:solidFill>
              <a:effectLst/>
              <a:uLnTx/>
              <a:uFillTx/>
              <a:latin typeface="GT Ultra Lloyds Light"/>
            </a:endParaRPr>
          </a:p>
          <a:p>
            <a:pPr marL="0" marR="0" lvl="1"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UK resident</a:t>
            </a:r>
            <a:endParaRPr lang="en-GB" sz="1000" b="0" i="0" u="none" strike="noStrike" kern="900" cap="none" spc="0" normalizeH="0" baseline="0" noProof="0" dirty="0">
              <a:ln>
                <a:noFill/>
              </a:ln>
              <a:solidFill>
                <a:schemeClr val="bg1"/>
              </a:solidFill>
              <a:effectLst/>
              <a:uLnTx/>
              <a:uFillTx/>
              <a:latin typeface="GT Ultra Lloyds Light"/>
            </a:endParaRPr>
          </a:p>
          <a:p>
            <a:pPr marL="0" marR="0" lvl="1"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Borrowing – secured is acceptable. </a:t>
            </a:r>
            <a:endParaRPr lang="en-GB" sz="1000" b="0" i="0" u="none" strike="noStrike" kern="900" cap="none" spc="0" normalizeH="0" baseline="0" noProof="0" dirty="0">
              <a:ln>
                <a:noFill/>
              </a:ln>
              <a:solidFill>
                <a:schemeClr val="bg1"/>
              </a:solidFill>
              <a:effectLst/>
              <a:uLnTx/>
              <a:uFillTx/>
              <a:latin typeface="GT Ultra Lloyds Light"/>
            </a:endParaRPr>
          </a:p>
          <a:p>
            <a:pPr marL="398145" marR="0" lvl="2" indent="-2286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schemeClr val="bg1"/>
                </a:solidFill>
                <a:effectLst/>
                <a:uLnTx/>
                <a:uFillTx/>
                <a:latin typeface="GT Ultra Lloyds Light"/>
              </a:rPr>
              <a:t>No high interest credit (Experian data &amp; YCS being explored)</a:t>
            </a:r>
            <a:endParaRPr lang="en-GB" sz="1000" b="0" i="0" u="none" strike="noStrike" kern="900" cap="none" spc="0" normalizeH="0" baseline="0" noProof="0" dirty="0">
              <a:ln>
                <a:noFill/>
              </a:ln>
              <a:solidFill>
                <a:schemeClr val="bg1"/>
              </a:solidFill>
              <a:effectLst/>
              <a:uLnTx/>
              <a:uFillTx/>
              <a:latin typeface="GT Ultra Lloyds Light"/>
            </a:endParaRPr>
          </a:p>
          <a:p>
            <a:pPr marL="0" marR="0" lvl="1" indent="0" algn="l" defTabSz="914400" rtl="0" eaLnBrk="1" fontAlgn="auto" latinLnBrk="0" hangingPunct="1">
              <a:lnSpc>
                <a:spcPts val="1000"/>
              </a:lnSpc>
              <a:spcBef>
                <a:spcPts val="600"/>
              </a:spcBef>
              <a:spcAft>
                <a:spcPts val="0"/>
              </a:spcAft>
              <a:buClrTx/>
              <a:buSzTx/>
              <a:buFontTx/>
              <a:buNone/>
              <a:tabLst/>
              <a:defRPr/>
            </a:pPr>
            <a:r>
              <a:rPr kumimoji="0" lang="en-GB" sz="1000" b="0" i="0" u="none" strike="noStrike" kern="900" cap="none" spc="0" normalizeH="0" baseline="0" noProof="0" dirty="0">
                <a:ln>
                  <a:noFill/>
                </a:ln>
                <a:solidFill>
                  <a:schemeClr val="bg1"/>
                </a:solidFill>
                <a:effectLst/>
                <a:uLnTx/>
                <a:uFillTx/>
                <a:latin typeface="GT Ultra Lloyds Light"/>
              </a:rPr>
              <a:t>Positive marketing consent &amp; IB registered </a:t>
            </a:r>
            <a:endParaRPr lang="en-GB" sz="1000" b="0" i="0" u="none" strike="noStrike" kern="900" cap="none" spc="0" normalizeH="0" baseline="0" noProof="0" dirty="0">
              <a:ln>
                <a:noFill/>
              </a:ln>
              <a:solidFill>
                <a:schemeClr val="bg1"/>
              </a:solidFill>
              <a:effectLst/>
              <a:uLnTx/>
              <a:uFillTx/>
              <a:latin typeface="GT Ultra Lloyds Light"/>
            </a:endParaRPr>
          </a:p>
        </p:txBody>
      </p:sp>
      <p:sp>
        <p:nvSpPr>
          <p:cNvPr id="5" name="Rectangle: Rounded Corners 4">
            <a:extLst>
              <a:ext uri="{FF2B5EF4-FFF2-40B4-BE49-F238E27FC236}">
                <a16:creationId xmlns:a16="http://schemas.microsoft.com/office/drawing/2014/main" id="{648AE127-848D-9A44-9D5E-38B079551AB7}"/>
              </a:ext>
            </a:extLst>
          </p:cNvPr>
          <p:cNvSpPr/>
          <p:nvPr/>
        </p:nvSpPr>
        <p:spPr>
          <a:xfrm>
            <a:off x="7473695" y="1853501"/>
            <a:ext cx="1835868" cy="2484345"/>
          </a:xfrm>
          <a:prstGeom prst="roundRect">
            <a:avLst/>
          </a:prstGeom>
          <a:ln>
            <a:solidFill>
              <a:schemeClr val="accent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GT Ultra Median Lloyds Regular" pitchFamily="50" charset="0"/>
                <a:ea typeface="+mn-ea"/>
                <a:cs typeface="+mn-cs"/>
              </a:rPr>
              <a:t>1</a:t>
            </a:r>
            <a:r>
              <a:rPr kumimoji="0" lang="en-GB" sz="1050" b="1" i="0" u="none" strike="noStrike" kern="1200" cap="none" spc="0" normalizeH="0" baseline="30000" noProof="0" dirty="0">
                <a:ln>
                  <a:noFill/>
                </a:ln>
                <a:solidFill>
                  <a:srgbClr val="000000"/>
                </a:solidFill>
                <a:effectLst/>
                <a:uLnTx/>
                <a:uFillTx/>
                <a:latin typeface="GT Ultra Median Lloyds Regular" pitchFamily="50" charset="0"/>
                <a:ea typeface="+mn-ea"/>
                <a:cs typeface="+mn-cs"/>
              </a:rPr>
              <a:t>st</a:t>
            </a:r>
            <a:r>
              <a:rPr kumimoji="0" lang="en-GB" sz="1050" b="1" i="0" u="none" strike="noStrike" kern="1200" cap="none" spc="0" normalizeH="0" baseline="0" noProof="0" dirty="0">
                <a:ln>
                  <a:noFill/>
                </a:ln>
                <a:solidFill>
                  <a:srgbClr val="000000"/>
                </a:solidFill>
                <a:effectLst/>
                <a:uLnTx/>
                <a:uFillTx/>
                <a:latin typeface="GT Ultra Median Lloyds Regular" pitchFamily="50" charset="0"/>
                <a:ea typeface="+mn-ea"/>
                <a:cs typeface="+mn-cs"/>
              </a:rPr>
              <a:t> Use case TS sugges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Wrapper - ISA/G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Product – ready ma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Fund - MGF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Minimum amount (regular &amp;/or lump sum)</a:t>
            </a:r>
          </a:p>
        </p:txBody>
      </p:sp>
      <p:pic>
        <p:nvPicPr>
          <p:cNvPr id="8" name="Graphic 7" descr="Rosette">
            <a:extLst>
              <a:ext uri="{FF2B5EF4-FFF2-40B4-BE49-F238E27FC236}">
                <a16:creationId xmlns:a16="http://schemas.microsoft.com/office/drawing/2014/main" id="{3CA37750-FCD5-7A91-36CF-4A998134E4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7270" y="3572606"/>
            <a:ext cx="665360" cy="665360"/>
          </a:xfrm>
          <a:prstGeom prst="rect">
            <a:avLst/>
          </a:prstGeom>
        </p:spPr>
      </p:pic>
      <p:sp>
        <p:nvSpPr>
          <p:cNvPr id="10" name="Speech Bubble: Rectangle with Corners Rounded 9">
            <a:extLst>
              <a:ext uri="{FF2B5EF4-FFF2-40B4-BE49-F238E27FC236}">
                <a16:creationId xmlns:a16="http://schemas.microsoft.com/office/drawing/2014/main" id="{6D9C03FF-9677-4A77-5112-F8185CF382AD}"/>
              </a:ext>
            </a:extLst>
          </p:cNvPr>
          <p:cNvSpPr/>
          <p:nvPr/>
        </p:nvSpPr>
        <p:spPr>
          <a:xfrm>
            <a:off x="1948635" y="4815967"/>
            <a:ext cx="1145872" cy="665510"/>
          </a:xfrm>
          <a:prstGeom prst="wedgeRoundRectCallout">
            <a:avLst>
              <a:gd name="adj1" fmla="val -52926"/>
              <a:gd name="adj2" fmla="val 63670"/>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m worried about losing all my money</a:t>
            </a:r>
          </a:p>
        </p:txBody>
      </p:sp>
      <p:sp>
        <p:nvSpPr>
          <p:cNvPr id="16" name="Speech Bubble: Rectangle with Corners Rounded 15">
            <a:extLst>
              <a:ext uri="{FF2B5EF4-FFF2-40B4-BE49-F238E27FC236}">
                <a16:creationId xmlns:a16="http://schemas.microsoft.com/office/drawing/2014/main" id="{7D99DFDF-F63E-CD67-6B54-F2ABAD61FBE2}"/>
              </a:ext>
            </a:extLst>
          </p:cNvPr>
          <p:cNvSpPr/>
          <p:nvPr/>
        </p:nvSpPr>
        <p:spPr>
          <a:xfrm>
            <a:off x="326085" y="4855997"/>
            <a:ext cx="1300039" cy="725721"/>
          </a:xfrm>
          <a:prstGeom prst="wedgeRoundRectCallout">
            <a:avLst>
              <a:gd name="adj1" fmla="val -558"/>
              <a:gd name="adj2" fmla="val 71572"/>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 want help understanding my options</a:t>
            </a:r>
          </a:p>
        </p:txBody>
      </p:sp>
      <p:sp>
        <p:nvSpPr>
          <p:cNvPr id="17" name="Content Placeholder 7">
            <a:extLst>
              <a:ext uri="{FF2B5EF4-FFF2-40B4-BE49-F238E27FC236}">
                <a16:creationId xmlns:a16="http://schemas.microsoft.com/office/drawing/2014/main" id="{BC063501-10DB-179F-2C69-07FA714A2B8A}"/>
              </a:ext>
            </a:extLst>
          </p:cNvPr>
          <p:cNvSpPr txBox="1">
            <a:spLocks/>
          </p:cNvSpPr>
          <p:nvPr/>
        </p:nvSpPr>
        <p:spPr>
          <a:xfrm>
            <a:off x="3417018" y="5055912"/>
            <a:ext cx="3759312" cy="1721733"/>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tx2"/>
          </a:solidFill>
          <a:ln>
            <a:solidFill>
              <a:schemeClr val="tx1"/>
            </a:solidFill>
          </a:ln>
        </p:spPr>
        <p:txBody>
          <a:bodyPr vert="horz" wrap="square" lIns="36000" tIns="180000" rIns="144000" bIns="0" rtlCol="0" anchor="t">
            <a:noAutofit/>
          </a:bodyPr>
          <a:lstStyle>
            <a:lvl1pPr marL="0" indent="0" algn="l" defTabSz="914400" rtl="0" eaLnBrk="1" latinLnBrk="0" hangingPunct="1">
              <a:lnSpc>
                <a:spcPct val="100000"/>
              </a:lnSpc>
              <a:spcBef>
                <a:spcPts val="1800"/>
              </a:spcBef>
              <a:buFont typeface="Arial" panose="020B0604020202020204" pitchFamily="34" charset="0"/>
              <a:buNone/>
              <a:defRPr sz="1800" b="1" kern="1200">
                <a:solidFill>
                  <a:schemeClr val="bg1"/>
                </a:solidFill>
                <a:latin typeface="+mn-lt"/>
                <a:ea typeface="+mn-ea"/>
                <a:cs typeface="+mn-cs"/>
              </a:defRPr>
            </a:lvl1pPr>
            <a:lvl2pPr marL="0" indent="0" algn="l" defTabSz="914400" rtl="0" eaLnBrk="1" latinLnBrk="0" hangingPunct="1">
              <a:lnSpc>
                <a:spcPct val="100000"/>
              </a:lnSpc>
              <a:spcBef>
                <a:spcPts val="500"/>
              </a:spcBef>
              <a:buFont typeface="Arial" panose="020B0604020202020204" pitchFamily="34" charset="0"/>
              <a:buNone/>
              <a:defRPr sz="1600" kern="1200">
                <a:solidFill>
                  <a:schemeClr val="bg1"/>
                </a:solidFill>
                <a:latin typeface="+mn-lt"/>
                <a:ea typeface="+mn-ea"/>
                <a:cs typeface="+mn-cs"/>
              </a:defRPr>
            </a:lvl2pPr>
            <a:lvl3pPr marL="182563" indent="-182563" algn="l" defTabSz="914400" rtl="0" eaLnBrk="1" latinLnBrk="0" hangingPunct="1">
              <a:lnSpc>
                <a:spcPct val="100000"/>
              </a:lnSpc>
              <a:spcBef>
                <a:spcPts val="500"/>
              </a:spcBef>
              <a:buFont typeface="Arial" panose="020B0604020202020204" pitchFamily="34" charset="0"/>
              <a:buChar char="•"/>
              <a:defRPr sz="1400" kern="1200">
                <a:solidFill>
                  <a:schemeClr val="bg1"/>
                </a:solidFill>
                <a:latin typeface="+mn-lt"/>
                <a:ea typeface="+mn-ea"/>
                <a:cs typeface="+mn-cs"/>
              </a:defRPr>
            </a:lvl3pPr>
            <a:lvl4pPr marL="358775" indent="-176213" algn="l" defTabSz="914400" rtl="0" eaLnBrk="1" latinLnBrk="0" hangingPunct="1">
              <a:lnSpc>
                <a:spcPct val="100000"/>
              </a:lnSpc>
              <a:spcBef>
                <a:spcPts val="500"/>
              </a:spcBef>
              <a:buFont typeface="Arial" panose="020B0604020202020204" pitchFamily="34" charset="0"/>
              <a:buChar char="•"/>
              <a:defRPr sz="1200" kern="1200">
                <a:solidFill>
                  <a:schemeClr val="bg1"/>
                </a:solidFill>
                <a:latin typeface="+mn-lt"/>
                <a:ea typeface="+mn-ea"/>
                <a:cs typeface="+mn-cs"/>
              </a:defRPr>
            </a:lvl4pPr>
            <a:lvl5pPr marL="541338" indent="-182563" algn="l" defTabSz="914400" rtl="0" eaLnBrk="1" latinLnBrk="0" hangingPunct="1">
              <a:lnSpc>
                <a:spcPct val="10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ts val="1000"/>
              </a:lnSpc>
              <a:spcBef>
                <a:spcPts val="500"/>
              </a:spcBef>
              <a:spcAft>
                <a:spcPts val="0"/>
              </a:spcAft>
              <a:buClrTx/>
              <a:buSzTx/>
              <a:buFont typeface="Arial" panose="020B0604020202020204" pitchFamily="34" charset="0"/>
              <a:buNone/>
              <a:tabLst/>
              <a:defRPr/>
            </a:pPr>
            <a:r>
              <a:rPr kumimoji="0" lang="en-US" sz="1000" b="1" i="0" u="none" strike="noStrike" kern="900" cap="none" spc="0" normalizeH="0" baseline="0" noProof="0">
                <a:ln>
                  <a:noFill/>
                </a:ln>
                <a:solidFill>
                  <a:srgbClr val="FFFFFF"/>
                </a:solidFill>
                <a:effectLst/>
                <a:uLnTx/>
                <a:uFillTx/>
                <a:latin typeface="GT Ultra Lloyds Light" pitchFamily="2" charset="0"/>
                <a:ea typeface="+mn-ea"/>
                <a:cs typeface="+mn-cs"/>
              </a:rPr>
              <a:t>Additional Validation </a:t>
            </a:r>
            <a:r>
              <a:rPr kumimoji="0" lang="en-US" sz="1000" b="1" i="1" u="none" strike="noStrike" kern="900" cap="none" spc="0" normalizeH="0" baseline="0" noProof="0">
                <a:ln>
                  <a:noFill/>
                </a:ln>
                <a:solidFill>
                  <a:srgbClr val="FFFFFF"/>
                </a:solidFill>
                <a:effectLst/>
                <a:uLnTx/>
                <a:uFillTx/>
                <a:latin typeface="GT Ultra Lloyds Light" pitchFamily="2" charset="0"/>
                <a:ea typeface="+mn-ea"/>
                <a:cs typeface="+mn-cs"/>
              </a:rPr>
              <a:t>may be </a:t>
            </a:r>
            <a:r>
              <a:rPr kumimoji="0" lang="en-US" sz="1000" b="1" i="1" u="none" strike="noStrike" kern="900" cap="none" spc="0" normalizeH="0" baseline="30000" noProof="0">
                <a:ln>
                  <a:noFill/>
                </a:ln>
                <a:solidFill>
                  <a:srgbClr val="FFFFFF"/>
                </a:solidFill>
                <a:effectLst/>
                <a:uLnTx/>
                <a:uFillTx/>
                <a:latin typeface="GT Ultra Lloyds Light" pitchFamily="2" charset="0"/>
                <a:ea typeface="+mn-ea"/>
                <a:cs typeface="+mn-cs"/>
              </a:rPr>
              <a:t>1</a:t>
            </a:r>
            <a:r>
              <a:rPr kumimoji="0" lang="en-US" sz="1000" b="1" i="1" u="none" strike="noStrike" kern="900" cap="none" spc="0" normalizeH="0" baseline="0" noProof="0">
                <a:ln>
                  <a:noFill/>
                </a:ln>
                <a:solidFill>
                  <a:srgbClr val="FFFFFF"/>
                </a:solidFill>
                <a:effectLst/>
                <a:uLnTx/>
                <a:uFillTx/>
                <a:latin typeface="GT Ultra Lloyds Light" pitchFamily="2" charset="0"/>
                <a:ea typeface="+mn-ea"/>
                <a:cs typeface="+mn-cs"/>
              </a:rPr>
              <a:t>  </a:t>
            </a:r>
            <a:r>
              <a:rPr kumimoji="0" lang="en-US" sz="1000" b="1" i="0" u="none" strike="noStrike" kern="900" cap="none" spc="0" normalizeH="0" baseline="0" noProof="0">
                <a:ln>
                  <a:noFill/>
                </a:ln>
                <a:solidFill>
                  <a:srgbClr val="FFFFFF"/>
                </a:solidFill>
                <a:effectLst/>
                <a:uLnTx/>
                <a:uFillTx/>
                <a:latin typeface="GT Ultra Lloyds Light" pitchFamily="2" charset="0"/>
                <a:ea typeface="+mn-ea"/>
                <a:cs typeface="+mn-cs"/>
              </a:rPr>
              <a:t>required in journey</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Not looking for advice</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Wanting simple managed funds versus pick your own</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Has unused ISA allowance</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Prepared to take an element of risk </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Doesn’t require access for 5 years+</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Not anticipating any major changes – health, financial, planned spending</a:t>
            </a:r>
          </a:p>
        </p:txBody>
      </p:sp>
      <p:sp>
        <p:nvSpPr>
          <p:cNvPr id="18" name="TextBox 17">
            <a:extLst>
              <a:ext uri="{FF2B5EF4-FFF2-40B4-BE49-F238E27FC236}">
                <a16:creationId xmlns:a16="http://schemas.microsoft.com/office/drawing/2014/main" id="{575C68CE-B4B3-63A7-5D9F-82C92843176D}"/>
              </a:ext>
            </a:extLst>
          </p:cNvPr>
          <p:cNvSpPr txBox="1"/>
          <p:nvPr/>
        </p:nvSpPr>
        <p:spPr>
          <a:xfrm>
            <a:off x="3944431" y="1006667"/>
            <a:ext cx="38299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Customer Segmentation</a:t>
            </a:r>
          </a:p>
        </p:txBody>
      </p:sp>
      <p:sp>
        <p:nvSpPr>
          <p:cNvPr id="19" name="TextBox 18">
            <a:extLst>
              <a:ext uri="{FF2B5EF4-FFF2-40B4-BE49-F238E27FC236}">
                <a16:creationId xmlns:a16="http://schemas.microsoft.com/office/drawing/2014/main" id="{7DBB8B0C-24D8-E0F0-D256-3E188910F654}"/>
              </a:ext>
            </a:extLst>
          </p:cNvPr>
          <p:cNvSpPr txBox="1"/>
          <p:nvPr/>
        </p:nvSpPr>
        <p:spPr>
          <a:xfrm>
            <a:off x="7113153" y="1042207"/>
            <a:ext cx="259933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Ready Made Suggestion</a:t>
            </a:r>
          </a:p>
        </p:txBody>
      </p:sp>
      <p:pic>
        <p:nvPicPr>
          <p:cNvPr id="21" name="Picture 20">
            <a:extLst>
              <a:ext uri="{FF2B5EF4-FFF2-40B4-BE49-F238E27FC236}">
                <a16:creationId xmlns:a16="http://schemas.microsoft.com/office/drawing/2014/main" id="{C4016D97-9239-D1F8-0805-F5CC54DCF63B}"/>
              </a:ext>
            </a:extLst>
          </p:cNvPr>
          <p:cNvPicPr>
            <a:picLocks noChangeAspect="1"/>
          </p:cNvPicPr>
          <p:nvPr/>
        </p:nvPicPr>
        <p:blipFill>
          <a:blip r:embed="rId5"/>
          <a:stretch>
            <a:fillRect/>
          </a:stretch>
        </p:blipFill>
        <p:spPr>
          <a:xfrm>
            <a:off x="9969346" y="503815"/>
            <a:ext cx="1986743" cy="1474775"/>
          </a:xfrm>
          <a:prstGeom prst="rect">
            <a:avLst/>
          </a:prstGeom>
        </p:spPr>
      </p:pic>
      <p:pic>
        <p:nvPicPr>
          <p:cNvPr id="23" name="Picture 22">
            <a:extLst>
              <a:ext uri="{FF2B5EF4-FFF2-40B4-BE49-F238E27FC236}">
                <a16:creationId xmlns:a16="http://schemas.microsoft.com/office/drawing/2014/main" id="{4834A28D-23CE-98A8-D5B2-549EC603EDF6}"/>
              </a:ext>
            </a:extLst>
          </p:cNvPr>
          <p:cNvPicPr>
            <a:picLocks noChangeAspect="1"/>
          </p:cNvPicPr>
          <p:nvPr/>
        </p:nvPicPr>
        <p:blipFill>
          <a:blip r:embed="rId6"/>
          <a:stretch>
            <a:fillRect/>
          </a:stretch>
        </p:blipFill>
        <p:spPr>
          <a:xfrm>
            <a:off x="9940214" y="2126576"/>
            <a:ext cx="1996619" cy="1474775"/>
          </a:xfrm>
          <a:prstGeom prst="rect">
            <a:avLst/>
          </a:prstGeom>
        </p:spPr>
      </p:pic>
      <p:pic>
        <p:nvPicPr>
          <p:cNvPr id="25" name="Picture 24">
            <a:extLst>
              <a:ext uri="{FF2B5EF4-FFF2-40B4-BE49-F238E27FC236}">
                <a16:creationId xmlns:a16="http://schemas.microsoft.com/office/drawing/2014/main" id="{059E476C-FDE1-08C5-8139-DD1531B9034D}"/>
              </a:ext>
            </a:extLst>
          </p:cNvPr>
          <p:cNvPicPr>
            <a:picLocks noChangeAspect="1"/>
          </p:cNvPicPr>
          <p:nvPr/>
        </p:nvPicPr>
        <p:blipFill>
          <a:blip r:embed="rId7"/>
          <a:stretch>
            <a:fillRect/>
          </a:stretch>
        </p:blipFill>
        <p:spPr>
          <a:xfrm>
            <a:off x="9940214" y="3699597"/>
            <a:ext cx="2069465" cy="1479284"/>
          </a:xfrm>
          <a:prstGeom prst="rect">
            <a:avLst/>
          </a:prstGeom>
        </p:spPr>
      </p:pic>
      <p:pic>
        <p:nvPicPr>
          <p:cNvPr id="27" name="Picture 26">
            <a:extLst>
              <a:ext uri="{FF2B5EF4-FFF2-40B4-BE49-F238E27FC236}">
                <a16:creationId xmlns:a16="http://schemas.microsoft.com/office/drawing/2014/main" id="{054E7400-9F36-8EEB-787D-7C1D948A240D}"/>
              </a:ext>
            </a:extLst>
          </p:cNvPr>
          <p:cNvPicPr>
            <a:picLocks noChangeAspect="1"/>
          </p:cNvPicPr>
          <p:nvPr/>
        </p:nvPicPr>
        <p:blipFill>
          <a:blip r:embed="rId8"/>
          <a:stretch>
            <a:fillRect/>
          </a:stretch>
        </p:blipFill>
        <p:spPr>
          <a:xfrm>
            <a:off x="9969346" y="5277127"/>
            <a:ext cx="2015875" cy="1511906"/>
          </a:xfrm>
          <a:prstGeom prst="rect">
            <a:avLst/>
          </a:prstGeom>
        </p:spPr>
      </p:pic>
      <p:sp>
        <p:nvSpPr>
          <p:cNvPr id="29" name="TextBox 28">
            <a:extLst>
              <a:ext uri="{FF2B5EF4-FFF2-40B4-BE49-F238E27FC236}">
                <a16:creationId xmlns:a16="http://schemas.microsoft.com/office/drawing/2014/main" id="{E6CA1BAC-A2A5-70DC-E0AB-74AE000A145E}"/>
              </a:ext>
            </a:extLst>
          </p:cNvPr>
          <p:cNvSpPr txBox="1"/>
          <p:nvPr/>
        </p:nvSpPr>
        <p:spPr>
          <a:xfrm>
            <a:off x="1106047" y="2093187"/>
            <a:ext cx="232540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GT Ultra Lloyds Light" pitchFamily="50" charset="0"/>
                <a:ea typeface="+mn-ea"/>
                <a:cs typeface="+mn-cs"/>
              </a:rPr>
              <a:t>Under Investors</a:t>
            </a:r>
          </a:p>
        </p:txBody>
      </p:sp>
      <p:sp>
        <p:nvSpPr>
          <p:cNvPr id="30" name="TextBox 29">
            <a:extLst>
              <a:ext uri="{FF2B5EF4-FFF2-40B4-BE49-F238E27FC236}">
                <a16:creationId xmlns:a16="http://schemas.microsoft.com/office/drawing/2014/main" id="{C4FEE427-ABEE-4018-F1A8-080B0A21E0B0}"/>
              </a:ext>
            </a:extLst>
          </p:cNvPr>
          <p:cNvSpPr txBox="1"/>
          <p:nvPr/>
        </p:nvSpPr>
        <p:spPr>
          <a:xfrm>
            <a:off x="3639470" y="1297846"/>
            <a:ext cx="35368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GT Ultra Lloyds Light" pitchFamily="50" charset="0"/>
                <a:ea typeface="+mn-ea"/>
                <a:cs typeface="+mn-cs"/>
              </a:rPr>
              <a:t>FCA policy rules due in Dec’25 assumptions align to target market criteria and align with consumer duty</a:t>
            </a:r>
          </a:p>
        </p:txBody>
      </p:sp>
      <p:sp>
        <p:nvSpPr>
          <p:cNvPr id="31" name="TextBox 30">
            <a:extLst>
              <a:ext uri="{FF2B5EF4-FFF2-40B4-BE49-F238E27FC236}">
                <a16:creationId xmlns:a16="http://schemas.microsoft.com/office/drawing/2014/main" id="{A1DE95C3-88AD-B4EB-F4D5-34C8B42AB8BD}"/>
              </a:ext>
            </a:extLst>
          </p:cNvPr>
          <p:cNvSpPr txBox="1"/>
          <p:nvPr/>
        </p:nvSpPr>
        <p:spPr>
          <a:xfrm>
            <a:off x="180205" y="1307679"/>
            <a:ext cx="35368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Where can we improve customer outcomes?</a:t>
            </a:r>
          </a:p>
        </p:txBody>
      </p:sp>
      <p:sp>
        <p:nvSpPr>
          <p:cNvPr id="32" name="TextBox 31">
            <a:extLst>
              <a:ext uri="{FF2B5EF4-FFF2-40B4-BE49-F238E27FC236}">
                <a16:creationId xmlns:a16="http://schemas.microsoft.com/office/drawing/2014/main" id="{E665B9F0-B95B-B0A3-8AC5-7BCF53CD3303}"/>
              </a:ext>
            </a:extLst>
          </p:cNvPr>
          <p:cNvSpPr txBox="1"/>
          <p:nvPr/>
        </p:nvSpPr>
        <p:spPr>
          <a:xfrm>
            <a:off x="7126773" y="1366390"/>
            <a:ext cx="35368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Must be the same for each cohort</a:t>
            </a:r>
          </a:p>
        </p:txBody>
      </p:sp>
      <p:sp>
        <p:nvSpPr>
          <p:cNvPr id="37" name="TextBox 36">
            <a:extLst>
              <a:ext uri="{FF2B5EF4-FFF2-40B4-BE49-F238E27FC236}">
                <a16:creationId xmlns:a16="http://schemas.microsoft.com/office/drawing/2014/main" id="{A53E9372-B632-8CAF-5683-7C9A54FBBA28}"/>
              </a:ext>
            </a:extLst>
          </p:cNvPr>
          <p:cNvSpPr txBox="1"/>
          <p:nvPr/>
        </p:nvSpPr>
        <p:spPr>
          <a:xfrm>
            <a:off x="288609" y="5842933"/>
            <a:ext cx="232540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GT Ultra Lloyds Light" pitchFamily="50" charset="0"/>
                <a:ea typeface="+mn-ea"/>
                <a:cs typeface="+mn-cs"/>
              </a:rPr>
              <a:t>First customer journey has focussed on those regularly saving and wanting their money to grow</a:t>
            </a:r>
          </a:p>
        </p:txBody>
      </p:sp>
      <p:sp>
        <p:nvSpPr>
          <p:cNvPr id="40" name="Rectangle: Rounded Corners 39">
            <a:extLst>
              <a:ext uri="{FF2B5EF4-FFF2-40B4-BE49-F238E27FC236}">
                <a16:creationId xmlns:a16="http://schemas.microsoft.com/office/drawing/2014/main" id="{0A7795E5-1385-6D52-ED6A-9FA98AC86379}"/>
              </a:ext>
            </a:extLst>
          </p:cNvPr>
          <p:cNvSpPr/>
          <p:nvPr/>
        </p:nvSpPr>
        <p:spPr>
          <a:xfrm>
            <a:off x="3431451" y="4337846"/>
            <a:ext cx="3759313" cy="665510"/>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GT Ultra Lloyds Light" pitchFamily="50" charset="0"/>
                <a:ea typeface="+mn-ea"/>
                <a:cs typeface="+mn-cs"/>
              </a:rPr>
              <a:t>For P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Not needing access before </a:t>
            </a:r>
            <a:r>
              <a:rPr lang="en-GB" sz="1000">
                <a:solidFill>
                  <a:srgbClr val="FFFFFF"/>
                </a:solidFill>
                <a:latin typeface="Calibri"/>
              </a:rPr>
              <a:t>normal retirement age</a:t>
            </a:r>
            <a:endParaRPr kumimoji="0" lang="en-GB" sz="1000" b="0" i="0" u="none" strike="noStrike" kern="1200" cap="none" spc="0" normalizeH="0" baseline="0" noProof="0">
              <a:ln>
                <a:noFill/>
              </a:ln>
              <a:solidFill>
                <a:srgbClr val="FFFFFF"/>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Not in draw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Consideration to workplace availability</a:t>
            </a:r>
          </a:p>
        </p:txBody>
      </p:sp>
      <p:sp>
        <p:nvSpPr>
          <p:cNvPr id="41" name="Rectangle: Rounded Corners 40">
            <a:extLst>
              <a:ext uri="{FF2B5EF4-FFF2-40B4-BE49-F238E27FC236}">
                <a16:creationId xmlns:a16="http://schemas.microsoft.com/office/drawing/2014/main" id="{0825B7D3-12E1-48CF-9BB5-22DDEC40BB81}"/>
              </a:ext>
            </a:extLst>
          </p:cNvPr>
          <p:cNvSpPr/>
          <p:nvPr/>
        </p:nvSpPr>
        <p:spPr>
          <a:xfrm>
            <a:off x="7494888" y="4489506"/>
            <a:ext cx="1835868" cy="2184424"/>
          </a:xfrm>
          <a:prstGeom prst="roundRect">
            <a:avLst/>
          </a:prstGeom>
          <a:ln>
            <a:solidFill>
              <a:schemeClr val="accent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GT Ultra Median Lloyds Regular" pitchFamily="50" charset="0"/>
                <a:ea typeface="+mn-ea"/>
                <a:cs typeface="+mn-cs"/>
              </a:rPr>
              <a:t>Future Use case - Pen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Ready Made Pen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Fund – (TB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rPr>
              <a:t>Minimum amount (regular &amp;/or lump sum)</a:t>
            </a:r>
          </a:p>
        </p:txBody>
      </p:sp>
      <p:pic>
        <p:nvPicPr>
          <p:cNvPr id="42" name="Graphic 41" descr="Rosette">
            <a:extLst>
              <a:ext uri="{FF2B5EF4-FFF2-40B4-BE49-F238E27FC236}">
                <a16:creationId xmlns:a16="http://schemas.microsoft.com/office/drawing/2014/main" id="{1628F998-3107-D879-F05E-7108373E5F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58949" y="5953601"/>
            <a:ext cx="665360" cy="665360"/>
          </a:xfrm>
          <a:prstGeom prst="rect">
            <a:avLst/>
          </a:prstGeom>
        </p:spPr>
      </p:pic>
      <p:sp>
        <p:nvSpPr>
          <p:cNvPr id="43" name="Rectangle: Rounded Corners 42">
            <a:extLst>
              <a:ext uri="{FF2B5EF4-FFF2-40B4-BE49-F238E27FC236}">
                <a16:creationId xmlns:a16="http://schemas.microsoft.com/office/drawing/2014/main" id="{6DA32A02-97B8-E0D0-15A2-4E0D9B4B7DC4}"/>
              </a:ext>
            </a:extLst>
          </p:cNvPr>
          <p:cNvSpPr/>
          <p:nvPr/>
        </p:nvSpPr>
        <p:spPr>
          <a:xfrm>
            <a:off x="180205" y="1894418"/>
            <a:ext cx="2834551" cy="206646"/>
          </a:xfrm>
          <a:prstGeom prst="roundRect">
            <a:avLst>
              <a:gd name="adj" fmla="val 50000"/>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GT Ultra Lloyds Regular"/>
                <a:ea typeface="+mn-ea"/>
                <a:cs typeface="+mn-cs"/>
              </a:rPr>
              <a:t>CR focus area</a:t>
            </a:r>
          </a:p>
        </p:txBody>
      </p:sp>
      <p:pic>
        <p:nvPicPr>
          <p:cNvPr id="11" name="Picture 10">
            <a:extLst>
              <a:ext uri="{FF2B5EF4-FFF2-40B4-BE49-F238E27FC236}">
                <a16:creationId xmlns:a16="http://schemas.microsoft.com/office/drawing/2014/main" id="{073A9A6C-C70D-CD1F-4BE0-4A277E80678B}"/>
              </a:ext>
            </a:extLst>
          </p:cNvPr>
          <p:cNvPicPr>
            <a:picLocks noChangeAspect="1"/>
          </p:cNvPicPr>
          <p:nvPr/>
        </p:nvPicPr>
        <p:blipFill>
          <a:blip r:embed="rId9"/>
          <a:stretch>
            <a:fillRect/>
          </a:stretch>
        </p:blipFill>
        <p:spPr>
          <a:xfrm>
            <a:off x="147331" y="2852927"/>
            <a:ext cx="2867425" cy="1876687"/>
          </a:xfrm>
          <a:prstGeom prst="rect">
            <a:avLst/>
          </a:prstGeom>
        </p:spPr>
      </p:pic>
      <p:sp>
        <p:nvSpPr>
          <p:cNvPr id="13" name="Speech Bubble: Rectangle with Corners Rounded 12">
            <a:extLst>
              <a:ext uri="{FF2B5EF4-FFF2-40B4-BE49-F238E27FC236}">
                <a16:creationId xmlns:a16="http://schemas.microsoft.com/office/drawing/2014/main" id="{3D548044-B415-6171-ACF3-C8AD80DE8BB5}"/>
              </a:ext>
            </a:extLst>
          </p:cNvPr>
          <p:cNvSpPr/>
          <p:nvPr/>
        </p:nvSpPr>
        <p:spPr>
          <a:xfrm>
            <a:off x="2412381" y="2561759"/>
            <a:ext cx="978533" cy="665510"/>
          </a:xfrm>
          <a:prstGeom prst="wedgeRoundRectCallout">
            <a:avLst>
              <a:gd name="adj1" fmla="val -52926"/>
              <a:gd name="adj2" fmla="val 63670"/>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 know I should invest but don’t know how</a:t>
            </a:r>
          </a:p>
        </p:txBody>
      </p:sp>
    </p:spTree>
    <p:extLst>
      <p:ext uri="{BB962C8B-B14F-4D97-AF65-F5344CB8AC3E}">
        <p14:creationId xmlns:p14="http://schemas.microsoft.com/office/powerpoint/2010/main" val="36381363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4A75D-2D6A-3647-C76A-8CDC32D8146D}"/>
            </a:ext>
          </a:extLst>
        </p:cNvPr>
        <p:cNvGrpSpPr/>
        <p:nvPr/>
      </p:nvGrpSpPr>
      <p:grpSpPr>
        <a:xfrm>
          <a:off x="0" y="0"/>
          <a:ext cx="0" cy="0"/>
          <a:chOff x="0" y="0"/>
          <a:chExt cx="0" cy="0"/>
        </a:xfrm>
      </p:grpSpPr>
      <p:sp>
        <p:nvSpPr>
          <p:cNvPr id="28" name="Arrow: Right 27">
            <a:extLst>
              <a:ext uri="{FF2B5EF4-FFF2-40B4-BE49-F238E27FC236}">
                <a16:creationId xmlns:a16="http://schemas.microsoft.com/office/drawing/2014/main" id="{5B1F76F0-7612-C4C8-3620-FDAD5FDC9E99}"/>
              </a:ext>
            </a:extLst>
          </p:cNvPr>
          <p:cNvSpPr/>
          <p:nvPr/>
        </p:nvSpPr>
        <p:spPr>
          <a:xfrm>
            <a:off x="97262" y="760840"/>
            <a:ext cx="9842952" cy="1196011"/>
          </a:xfrm>
          <a:prstGeom prst="rightArrow">
            <a:avLst>
              <a:gd name="adj1" fmla="val 50000"/>
              <a:gd name="adj2" fmla="val 38970"/>
            </a:avLst>
          </a:prstGeom>
          <a:solidFill>
            <a:schemeClr val="bg1">
              <a:lumMod val="95000"/>
            </a:schemeClr>
          </a:solidFill>
          <a:ln w="6350">
            <a:prstDash val="sysDot"/>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Title 1">
            <a:extLst>
              <a:ext uri="{FF2B5EF4-FFF2-40B4-BE49-F238E27FC236}">
                <a16:creationId xmlns:a16="http://schemas.microsoft.com/office/drawing/2014/main" id="{E7913788-E09F-D939-4776-B518EE3C0A5B}"/>
              </a:ext>
            </a:extLst>
          </p:cNvPr>
          <p:cNvSpPr>
            <a:spLocks noGrp="1"/>
          </p:cNvSpPr>
          <p:nvPr>
            <p:ph type="title"/>
          </p:nvPr>
        </p:nvSpPr>
        <p:spPr>
          <a:xfrm>
            <a:off x="382588" y="398232"/>
            <a:ext cx="9965467" cy="585664"/>
          </a:xfrm>
        </p:spPr>
        <p:txBody>
          <a:bodyPr>
            <a:normAutofit/>
          </a:bodyPr>
          <a:lstStyle/>
          <a:p>
            <a:r>
              <a:rPr lang="en-GB" sz="3200" b="1" dirty="0">
                <a:solidFill>
                  <a:prstClr val="black"/>
                </a:solidFill>
                <a:latin typeface="Poppins Medium" panose="00000600000000000000" pitchFamily="2" charset="0"/>
                <a:cs typeface="Poppins Medium" panose="00000600000000000000" pitchFamily="2" charset="0"/>
              </a:rPr>
              <a:t>Targeted Support In Action – </a:t>
            </a:r>
            <a:r>
              <a:rPr lang="en-GB" sz="3200" b="1">
                <a:solidFill>
                  <a:prstClr val="black"/>
                </a:solidFill>
                <a:latin typeface="Poppins Medium" panose="00000600000000000000" pitchFamily="2" charset="0"/>
                <a:cs typeface="Poppins Medium" panose="00000600000000000000" pitchFamily="2" charset="0"/>
              </a:rPr>
              <a:t>Not Diversified</a:t>
            </a:r>
          </a:p>
        </p:txBody>
      </p:sp>
      <p:sp>
        <p:nvSpPr>
          <p:cNvPr id="3" name="TextBox 2">
            <a:extLst>
              <a:ext uri="{FF2B5EF4-FFF2-40B4-BE49-F238E27FC236}">
                <a16:creationId xmlns:a16="http://schemas.microsoft.com/office/drawing/2014/main" id="{397406B8-0A1B-7C20-C514-83F3AA90126C}"/>
              </a:ext>
            </a:extLst>
          </p:cNvPr>
          <p:cNvSpPr txBox="1"/>
          <p:nvPr/>
        </p:nvSpPr>
        <p:spPr>
          <a:xfrm>
            <a:off x="229762" y="1015067"/>
            <a:ext cx="38299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Customer Situation</a:t>
            </a:r>
          </a:p>
        </p:txBody>
      </p:sp>
      <p:sp>
        <p:nvSpPr>
          <p:cNvPr id="15" name="Rectangle 14">
            <a:extLst>
              <a:ext uri="{FF2B5EF4-FFF2-40B4-BE49-F238E27FC236}">
                <a16:creationId xmlns:a16="http://schemas.microsoft.com/office/drawing/2014/main" id="{896FCFEC-9F7D-45CD-BD5D-AE4E8B294FD3}"/>
              </a:ext>
            </a:extLst>
          </p:cNvPr>
          <p:cNvSpPr/>
          <p:nvPr/>
        </p:nvSpPr>
        <p:spPr>
          <a:xfrm>
            <a:off x="3431451" y="1789900"/>
            <a:ext cx="3829961" cy="1909698"/>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GT Ultra Lloyds Light"/>
              </a:rPr>
              <a:t>Common characteristics</a:t>
            </a:r>
            <a:r>
              <a:rPr kumimoji="0" lang="en-GB" sz="1200" b="0" i="0" u="none" strike="noStrike" kern="0" cap="none" spc="0" normalizeH="0" baseline="0" noProof="0" dirty="0">
                <a:ln>
                  <a:noFill/>
                </a:ln>
                <a:solidFill>
                  <a:srgbClr val="000000"/>
                </a:solidFill>
                <a:effectLst/>
                <a:uLnTx/>
                <a:uFillTx/>
                <a:latin typeface="GT Ultra Lloyds Ligh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GT Ultra Lloyds Light" pitchFamily="50" charset="0"/>
              <a:ea typeface="+mn-ea"/>
              <a:cs typeface="+mn-cs"/>
            </a:endParaRPr>
          </a:p>
          <a:p>
            <a:pPr marL="171450" indent="-171450">
              <a:lnSpc>
                <a:spcPts val="1000"/>
              </a:lnSpc>
              <a:spcBef>
                <a:spcPts val="600"/>
              </a:spcBef>
              <a:buFont typeface="Arial" panose="020B0604020202020204" pitchFamily="34" charset="0"/>
              <a:buChar char="•"/>
              <a:defRPr/>
            </a:pPr>
            <a:r>
              <a:rPr kumimoji="0" lang="en-GB" sz="1000" b="0" i="0" u="none" strike="noStrike" kern="900" cap="none" spc="0" normalizeH="0" baseline="0" noProof="0" dirty="0">
                <a:ln>
                  <a:noFill/>
                </a:ln>
                <a:solidFill>
                  <a:prstClr val="black"/>
                </a:solidFill>
                <a:effectLst/>
                <a:uLnTx/>
                <a:uFillTx/>
                <a:latin typeface="GT Ultra Lloyds Light"/>
              </a:rPr>
              <a:t>Existing Sharedealing GIA/ISA/SIPP customer</a:t>
            </a:r>
            <a:r>
              <a:rPr lang="en-GB" sz="1000" kern="900" dirty="0">
                <a:solidFill>
                  <a:prstClr val="black"/>
                </a:solidFill>
                <a:latin typeface="GT Ultra Lloyds Light"/>
              </a:rPr>
              <a:t> that demonstrate investing capacity characteristics.</a:t>
            </a:r>
            <a:endParaRPr lang="en-GB" sz="1000" b="0" i="0" u="none" strike="noStrike" kern="900" cap="none" spc="0" normalizeH="0" baseline="0" noProof="0" dirty="0">
              <a:ln>
                <a:noFill/>
              </a:ln>
              <a:solidFill>
                <a:prstClr val="black"/>
              </a:solidFill>
              <a:effectLst/>
              <a:uLnTx/>
              <a:uFillTx/>
              <a:latin typeface="GT Ultra Lloyds Light"/>
            </a:endParaRPr>
          </a:p>
          <a:p>
            <a:pPr marL="171450" marR="0" lvl="0" indent="-17145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prstClr val="black"/>
                </a:solidFill>
                <a:effectLst/>
                <a:uLnTx/>
                <a:uFillTx/>
                <a:latin typeface="GT Ultra Lloyds Light"/>
              </a:rPr>
              <a:t>Holds a single company stock in their portfolio.</a:t>
            </a:r>
            <a:endParaRPr lang="en-GB" sz="1000" b="0" i="0" u="none" strike="noStrike" kern="900" cap="none" spc="0" normalizeH="0" baseline="0" noProof="0" dirty="0">
              <a:ln>
                <a:noFill/>
              </a:ln>
              <a:solidFill>
                <a:prstClr val="black"/>
              </a:solidFill>
              <a:effectLst/>
              <a:uLnTx/>
              <a:uFillTx/>
              <a:latin typeface="GT Ultra Lloyds Light"/>
            </a:endParaRPr>
          </a:p>
          <a:p>
            <a:pPr marL="171450" marR="0" lvl="1" indent="-17145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lang="en-GB" sz="1000" kern="900" dirty="0">
                <a:solidFill>
                  <a:prstClr val="black"/>
                </a:solidFill>
                <a:latin typeface="GT Ultra Lloyds Light"/>
              </a:rPr>
              <a:t>Aged </a:t>
            </a:r>
            <a:r>
              <a:rPr kumimoji="0" lang="en-GB" sz="1000" b="0" i="0" u="none" strike="noStrike" kern="900" cap="none" spc="0" normalizeH="0" baseline="0" noProof="0" dirty="0">
                <a:ln>
                  <a:noFill/>
                </a:ln>
                <a:solidFill>
                  <a:prstClr val="black"/>
                </a:solidFill>
                <a:effectLst/>
                <a:uLnTx/>
                <a:uFillTx/>
                <a:latin typeface="GT Ultra Lloyds Light"/>
              </a:rPr>
              <a:t>Between 18  - 75 </a:t>
            </a:r>
            <a:endParaRPr lang="en-GB" sz="1000" b="0" i="0" u="none" strike="noStrike" kern="900" cap="none" spc="0" normalizeH="0" baseline="0" noProof="0" dirty="0">
              <a:ln>
                <a:noFill/>
              </a:ln>
              <a:solidFill>
                <a:prstClr val="black"/>
              </a:solidFill>
              <a:effectLst/>
              <a:uLnTx/>
              <a:uFillTx/>
              <a:latin typeface="GT Ultra Lloyds Light"/>
            </a:endParaRPr>
          </a:p>
          <a:p>
            <a:pPr marL="171450" marR="0" lvl="1" indent="-17145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prstClr val="black"/>
                </a:solidFill>
                <a:effectLst/>
                <a:uLnTx/>
                <a:uFillTx/>
                <a:latin typeface="GT Ultra Lloyds Light"/>
              </a:rPr>
              <a:t>UK resident</a:t>
            </a:r>
            <a:endParaRPr lang="en-GB" sz="1000" b="0" i="0" u="none" strike="noStrike" kern="900" cap="none" spc="0" normalizeH="0" baseline="0" noProof="0" dirty="0">
              <a:ln>
                <a:noFill/>
              </a:ln>
              <a:solidFill>
                <a:prstClr val="black"/>
              </a:solidFill>
              <a:effectLst/>
              <a:uLnTx/>
              <a:uFillTx/>
              <a:latin typeface="GT Ultra Lloyds Light"/>
            </a:endParaRPr>
          </a:p>
          <a:p>
            <a:pPr marL="171450" marR="0" lvl="1" indent="-17145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prstClr val="black"/>
                </a:solidFill>
                <a:effectLst/>
                <a:uLnTx/>
                <a:uFillTx/>
                <a:latin typeface="GT Ultra Lloyds Light"/>
              </a:rPr>
              <a:t>No financial vulnerability flags</a:t>
            </a:r>
            <a:endParaRPr lang="en-GB" sz="1000" b="0" i="0" u="none" strike="noStrike" kern="900" cap="none" spc="0" normalizeH="0" baseline="0" noProof="0" dirty="0">
              <a:ln>
                <a:noFill/>
              </a:ln>
              <a:solidFill>
                <a:prstClr val="black"/>
              </a:solidFill>
              <a:effectLst/>
              <a:uLnTx/>
              <a:uFillTx/>
              <a:latin typeface="GT Ultra Lloyds Light"/>
            </a:endParaRPr>
          </a:p>
          <a:p>
            <a:pPr marL="171450" marR="0" lvl="1" indent="-17145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dirty="0">
                <a:ln>
                  <a:noFill/>
                </a:ln>
                <a:solidFill>
                  <a:prstClr val="black"/>
                </a:solidFill>
                <a:effectLst/>
                <a:uLnTx/>
                <a:uFillTx/>
                <a:latin typeface="GT Ultra Lloyds Light"/>
              </a:rPr>
              <a:t>Positive marketing consent &amp; IB registered </a:t>
            </a:r>
            <a:endParaRPr lang="en-GB" sz="1000" b="0" i="0" u="none" strike="noStrike" kern="900" cap="none" spc="0" normalizeH="0" baseline="0" noProof="0" dirty="0">
              <a:ln>
                <a:noFill/>
              </a:ln>
              <a:solidFill>
                <a:prstClr val="black"/>
              </a:solidFill>
              <a:effectLst/>
              <a:uLnTx/>
              <a:uFillTx/>
              <a:latin typeface="GT Ultra Lloyds Light"/>
            </a:endParaRPr>
          </a:p>
        </p:txBody>
      </p:sp>
      <p:sp>
        <p:nvSpPr>
          <p:cNvPr id="13" name="Speech Bubble: Rectangle with Corners Rounded 12">
            <a:extLst>
              <a:ext uri="{FF2B5EF4-FFF2-40B4-BE49-F238E27FC236}">
                <a16:creationId xmlns:a16="http://schemas.microsoft.com/office/drawing/2014/main" id="{F40F1F8F-AB38-0CE0-D285-955A32980B98}"/>
              </a:ext>
            </a:extLst>
          </p:cNvPr>
          <p:cNvSpPr/>
          <p:nvPr/>
        </p:nvSpPr>
        <p:spPr>
          <a:xfrm>
            <a:off x="1973399" y="4621441"/>
            <a:ext cx="1308739" cy="665510"/>
          </a:xfrm>
          <a:prstGeom prst="wedgeRoundRectCallout">
            <a:avLst>
              <a:gd name="adj1" fmla="val -52926"/>
              <a:gd name="adj2" fmla="val 63670"/>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m only invested in a single UK company stock.</a:t>
            </a:r>
          </a:p>
        </p:txBody>
      </p:sp>
      <p:sp>
        <p:nvSpPr>
          <p:cNvPr id="5" name="Rectangle: Rounded Corners 4">
            <a:extLst>
              <a:ext uri="{FF2B5EF4-FFF2-40B4-BE49-F238E27FC236}">
                <a16:creationId xmlns:a16="http://schemas.microsoft.com/office/drawing/2014/main" id="{9F1AB5F5-E78B-8A1B-6634-2D5C529559CD}"/>
              </a:ext>
            </a:extLst>
          </p:cNvPr>
          <p:cNvSpPr/>
          <p:nvPr/>
        </p:nvSpPr>
        <p:spPr>
          <a:xfrm>
            <a:off x="7446090" y="1814462"/>
            <a:ext cx="2238797" cy="4859468"/>
          </a:xfrm>
          <a:prstGeom prst="roundRect">
            <a:avLst/>
          </a:prstGeom>
          <a:ln>
            <a:solidFill>
              <a:schemeClr val="accent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lIns="91440" tIns="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GT Ultra Median Lloyds Regular"/>
              </a:rPr>
              <a:t>1</a:t>
            </a:r>
            <a:r>
              <a:rPr kumimoji="0" lang="en-GB" sz="1050" b="1" i="0" u="none" strike="noStrike" kern="1200" cap="none" spc="0" normalizeH="0" baseline="30000" noProof="0" dirty="0">
                <a:ln>
                  <a:noFill/>
                </a:ln>
                <a:solidFill>
                  <a:srgbClr val="000000"/>
                </a:solidFill>
                <a:effectLst/>
                <a:uLnTx/>
                <a:uFillTx/>
                <a:latin typeface="GT Ultra Median Lloyds Regular"/>
              </a:rPr>
              <a:t>st</a:t>
            </a:r>
            <a:r>
              <a:rPr kumimoji="0" lang="en-GB" sz="1050" b="1" i="0" u="none" strike="noStrike" kern="1200" cap="none" spc="0" normalizeH="0" baseline="0" noProof="0" dirty="0">
                <a:ln>
                  <a:noFill/>
                </a:ln>
                <a:solidFill>
                  <a:srgbClr val="000000"/>
                </a:solidFill>
                <a:effectLst/>
                <a:uLnTx/>
                <a:uFillTx/>
                <a:latin typeface="GT Ultra Median Lloyds Regular"/>
              </a:rPr>
              <a:t> Use case TS sugges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indent="-171450">
              <a:buFont typeface="Arial" panose="020B0604020202020204" pitchFamily="34" charset="0"/>
              <a:buChar char="•"/>
              <a:defRPr/>
            </a:pPr>
            <a:r>
              <a:rPr kumimoji="0" lang="en-GB" sz="1050" b="0" i="0" u="none" strike="noStrike" kern="1200" cap="none" spc="0" normalizeH="0" baseline="0" noProof="0" dirty="0">
                <a:ln>
                  <a:noFill/>
                </a:ln>
                <a:solidFill>
                  <a:srgbClr val="000000"/>
                </a:solidFill>
                <a:effectLst/>
                <a:uLnTx/>
                <a:uFillTx/>
                <a:latin typeface="GT Ultra Median Lloyds Regular"/>
              </a:rPr>
              <a:t>Wrapper – Depends on what they already hold (ISA/GIA/SIPP</a:t>
            </a:r>
            <a:r>
              <a:rPr lang="en-GB" sz="1050" dirty="0">
                <a:solidFill>
                  <a:srgbClr val="000000"/>
                </a:solidFill>
                <a:latin typeface="GT Ultra Median Lloyds Regular"/>
              </a:rPr>
              <a:t>)*.  </a:t>
            </a:r>
            <a:endParaRPr lang="en-GB" sz="1050" b="0" i="0" u="none" strike="noStrike" kern="1200" cap="none" spc="0" normalizeH="0" baseline="0" noProof="0" dirty="0">
              <a:ln>
                <a:noFill/>
              </a:ln>
              <a:solidFill>
                <a:srgbClr val="000000"/>
              </a:solidFill>
              <a:effectLst/>
              <a:uLnTx/>
              <a:uFillTx/>
              <a:latin typeface="GT Ultra Median Lloyds Regular" pitchFamily="50"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a:rPr>
              <a:t>Product – </a:t>
            </a:r>
            <a:r>
              <a:rPr lang="en-GB" sz="1050" dirty="0">
                <a:solidFill>
                  <a:srgbClr val="000000"/>
                </a:solidFill>
                <a:latin typeface="GT Ultra Median Lloyds Regular"/>
              </a:rPr>
              <a:t>Stockbro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dirty="0">
                <a:solidFill>
                  <a:srgbClr val="000000"/>
                </a:solidFill>
                <a:latin typeface="GT Ultra Median Lloyds Regular"/>
              </a:rPr>
              <a:t>Asset</a:t>
            </a:r>
            <a:r>
              <a:rPr kumimoji="0" lang="en-GB" sz="1050" b="0" i="0" u="none" strike="noStrike" kern="1200" cap="none" spc="0" normalizeH="0" baseline="0" noProof="0" dirty="0">
                <a:ln>
                  <a:noFill/>
                </a:ln>
                <a:solidFill>
                  <a:srgbClr val="000000"/>
                </a:solidFill>
                <a:effectLst/>
                <a:uLnTx/>
                <a:uFillTx/>
                <a:latin typeface="GT Ultra Median Lloyds Regular"/>
              </a:rPr>
              <a:t> – Global tracker SWDA – iShares MSCI World.</a:t>
            </a:r>
            <a:endParaRPr lang="en-GB" sz="1050" b="0" i="0" u="none" strike="noStrike" kern="1200" cap="none" spc="0" normalizeH="0" baseline="0" noProof="0" dirty="0">
              <a:ln>
                <a:noFill/>
              </a:ln>
              <a:solidFill>
                <a:srgbClr val="000000"/>
              </a:solidFill>
              <a:effectLst/>
              <a:uLnTx/>
              <a:uFillTx/>
              <a:latin typeface="GT Ultra Median Lloyds Regular"/>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dirty="0">
              <a:ln>
                <a:noFill/>
              </a:ln>
              <a:solidFill>
                <a:srgbClr val="000000"/>
              </a:solidFill>
              <a:effectLst/>
              <a:uLnTx/>
              <a:uFillTx/>
              <a:latin typeface="GT Ultra Median Lloyds Regular" pitchFamily="50"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GT Ultra Median Lloyds Regular"/>
              </a:rPr>
              <a:t>Minimum amount (regular &amp;/or lump sum)</a:t>
            </a: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marL="171450" indent="-171450">
              <a:buFont typeface="Arial" panose="020B0604020202020204" pitchFamily="34" charset="0"/>
              <a:buChar char="•"/>
              <a:defRPr/>
            </a:pPr>
            <a:endParaRPr lang="en-GB" sz="1050" dirty="0">
              <a:solidFill>
                <a:srgbClr val="000000"/>
              </a:solidFill>
              <a:latin typeface="GT Ultra Median Lloyds Regular"/>
            </a:endParaRPr>
          </a:p>
          <a:p>
            <a:pPr>
              <a:defRPr/>
            </a:pPr>
            <a:r>
              <a:rPr lang="en-GB" sz="1000" dirty="0">
                <a:solidFill>
                  <a:srgbClr val="000000"/>
                </a:solidFill>
                <a:latin typeface="GT Ultra Median Lloyds Regular"/>
              </a:rPr>
              <a:t>*Explain ISA advantages and the impact that a "tax event" might have if they sell from GIA.</a:t>
            </a:r>
            <a:endParaRPr lang="en-GB" sz="1000" dirty="0"/>
          </a:p>
        </p:txBody>
      </p:sp>
      <p:pic>
        <p:nvPicPr>
          <p:cNvPr id="8" name="Graphic 7" descr="Rosette">
            <a:extLst>
              <a:ext uri="{FF2B5EF4-FFF2-40B4-BE49-F238E27FC236}">
                <a16:creationId xmlns:a16="http://schemas.microsoft.com/office/drawing/2014/main" id="{7BB09739-3FAD-FEE8-3CD2-BEE05DBF5A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20074" y="4393431"/>
            <a:ext cx="665360" cy="665360"/>
          </a:xfrm>
          <a:prstGeom prst="rect">
            <a:avLst/>
          </a:prstGeom>
        </p:spPr>
      </p:pic>
      <p:sp>
        <p:nvSpPr>
          <p:cNvPr id="16" name="Speech Bubble: Rectangle with Corners Rounded 15">
            <a:extLst>
              <a:ext uri="{FF2B5EF4-FFF2-40B4-BE49-F238E27FC236}">
                <a16:creationId xmlns:a16="http://schemas.microsoft.com/office/drawing/2014/main" id="{3843A0BA-6E65-F4C0-9C54-40A3A79A916F}"/>
              </a:ext>
            </a:extLst>
          </p:cNvPr>
          <p:cNvSpPr/>
          <p:nvPr/>
        </p:nvSpPr>
        <p:spPr>
          <a:xfrm>
            <a:off x="391125" y="4939791"/>
            <a:ext cx="1300039" cy="725721"/>
          </a:xfrm>
          <a:prstGeom prst="wedgeRoundRectCallout">
            <a:avLst>
              <a:gd name="adj1" fmla="val -558"/>
              <a:gd name="adj2" fmla="val 71572"/>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 want to understanding my investment options</a:t>
            </a:r>
          </a:p>
        </p:txBody>
      </p:sp>
      <p:sp>
        <p:nvSpPr>
          <p:cNvPr id="17" name="Content Placeholder 7">
            <a:extLst>
              <a:ext uri="{FF2B5EF4-FFF2-40B4-BE49-F238E27FC236}">
                <a16:creationId xmlns:a16="http://schemas.microsoft.com/office/drawing/2014/main" id="{3F42CC0E-C223-1604-3E1F-1ED044E1FB11}"/>
              </a:ext>
            </a:extLst>
          </p:cNvPr>
          <p:cNvSpPr txBox="1">
            <a:spLocks/>
          </p:cNvSpPr>
          <p:nvPr/>
        </p:nvSpPr>
        <p:spPr>
          <a:xfrm>
            <a:off x="3417018" y="5055913"/>
            <a:ext cx="3759312" cy="1618018"/>
          </a:xfrm>
          <a:custGeom>
            <a:avLst/>
            <a:gdLst>
              <a:gd name="connsiteX0" fmla="*/ 107487 w 3710275"/>
              <a:gd name="connsiteY0" fmla="*/ 0 h 4502150"/>
              <a:gd name="connsiteX1" fmla="*/ 3602788 w 3710275"/>
              <a:gd name="connsiteY1" fmla="*/ 0 h 4502150"/>
              <a:gd name="connsiteX2" fmla="*/ 3710275 w 3710275"/>
              <a:gd name="connsiteY2" fmla="*/ 107487 h 4502150"/>
              <a:gd name="connsiteX3" fmla="*/ 3710275 w 3710275"/>
              <a:gd name="connsiteY3" fmla="*/ 4394663 h 4502150"/>
              <a:gd name="connsiteX4" fmla="*/ 3602788 w 3710275"/>
              <a:gd name="connsiteY4" fmla="*/ 4502150 h 4502150"/>
              <a:gd name="connsiteX5" fmla="*/ 107487 w 3710275"/>
              <a:gd name="connsiteY5" fmla="*/ 4502150 h 4502150"/>
              <a:gd name="connsiteX6" fmla="*/ 0 w 3710275"/>
              <a:gd name="connsiteY6" fmla="*/ 4394663 h 4502150"/>
              <a:gd name="connsiteX7" fmla="*/ 0 w 3710275"/>
              <a:gd name="connsiteY7" fmla="*/ 107487 h 4502150"/>
              <a:gd name="connsiteX8" fmla="*/ 107487 w 3710275"/>
              <a:gd name="connsiteY8" fmla="*/ 0 h 450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275" h="4502150">
                <a:moveTo>
                  <a:pt x="107487" y="0"/>
                </a:moveTo>
                <a:lnTo>
                  <a:pt x="3602788" y="0"/>
                </a:lnTo>
                <a:cubicBezTo>
                  <a:pt x="3662151" y="0"/>
                  <a:pt x="3710275" y="48124"/>
                  <a:pt x="3710275" y="107487"/>
                </a:cubicBezTo>
                <a:lnTo>
                  <a:pt x="3710275" y="4394663"/>
                </a:lnTo>
                <a:cubicBezTo>
                  <a:pt x="3710275" y="4454026"/>
                  <a:pt x="3662151" y="4502150"/>
                  <a:pt x="3602788" y="4502150"/>
                </a:cubicBezTo>
                <a:lnTo>
                  <a:pt x="107487" y="4502150"/>
                </a:lnTo>
                <a:cubicBezTo>
                  <a:pt x="48124" y="4502150"/>
                  <a:pt x="0" y="4454026"/>
                  <a:pt x="0" y="4394663"/>
                </a:cubicBezTo>
                <a:lnTo>
                  <a:pt x="0" y="107487"/>
                </a:lnTo>
                <a:cubicBezTo>
                  <a:pt x="0" y="48124"/>
                  <a:pt x="48124" y="0"/>
                  <a:pt x="107487" y="0"/>
                </a:cubicBezTo>
                <a:close/>
              </a:path>
            </a:pathLst>
          </a:custGeom>
          <a:solidFill>
            <a:schemeClr val="tx2"/>
          </a:solidFill>
          <a:ln>
            <a:solidFill>
              <a:schemeClr val="tx1"/>
            </a:solidFill>
          </a:ln>
        </p:spPr>
        <p:txBody>
          <a:bodyPr vert="horz" wrap="square" lIns="36000" tIns="180000" rIns="144000" bIns="0" rtlCol="0" anchor="t">
            <a:noAutofit/>
          </a:bodyPr>
          <a:lstStyle>
            <a:lvl1pPr marL="0" indent="0" algn="l" defTabSz="914400" rtl="0" eaLnBrk="1" latinLnBrk="0" hangingPunct="1">
              <a:lnSpc>
                <a:spcPct val="100000"/>
              </a:lnSpc>
              <a:spcBef>
                <a:spcPts val="1800"/>
              </a:spcBef>
              <a:buFont typeface="Arial" panose="020B0604020202020204" pitchFamily="34" charset="0"/>
              <a:buNone/>
              <a:defRPr sz="1800" b="1" kern="1200">
                <a:solidFill>
                  <a:schemeClr val="bg1"/>
                </a:solidFill>
                <a:latin typeface="+mn-lt"/>
                <a:ea typeface="+mn-ea"/>
                <a:cs typeface="+mn-cs"/>
              </a:defRPr>
            </a:lvl1pPr>
            <a:lvl2pPr marL="0" indent="0" algn="l" defTabSz="914400" rtl="0" eaLnBrk="1" latinLnBrk="0" hangingPunct="1">
              <a:lnSpc>
                <a:spcPct val="100000"/>
              </a:lnSpc>
              <a:spcBef>
                <a:spcPts val="500"/>
              </a:spcBef>
              <a:buFont typeface="Arial" panose="020B0604020202020204" pitchFamily="34" charset="0"/>
              <a:buNone/>
              <a:defRPr sz="1600" kern="1200">
                <a:solidFill>
                  <a:schemeClr val="bg1"/>
                </a:solidFill>
                <a:latin typeface="+mn-lt"/>
                <a:ea typeface="+mn-ea"/>
                <a:cs typeface="+mn-cs"/>
              </a:defRPr>
            </a:lvl2pPr>
            <a:lvl3pPr marL="182563" indent="-182563" algn="l" defTabSz="914400" rtl="0" eaLnBrk="1" latinLnBrk="0" hangingPunct="1">
              <a:lnSpc>
                <a:spcPct val="100000"/>
              </a:lnSpc>
              <a:spcBef>
                <a:spcPts val="500"/>
              </a:spcBef>
              <a:buFont typeface="Arial" panose="020B0604020202020204" pitchFamily="34" charset="0"/>
              <a:buChar char="•"/>
              <a:defRPr sz="1400" kern="1200">
                <a:solidFill>
                  <a:schemeClr val="bg1"/>
                </a:solidFill>
                <a:latin typeface="+mn-lt"/>
                <a:ea typeface="+mn-ea"/>
                <a:cs typeface="+mn-cs"/>
              </a:defRPr>
            </a:lvl3pPr>
            <a:lvl4pPr marL="358775" indent="-176213" algn="l" defTabSz="914400" rtl="0" eaLnBrk="1" latinLnBrk="0" hangingPunct="1">
              <a:lnSpc>
                <a:spcPct val="100000"/>
              </a:lnSpc>
              <a:spcBef>
                <a:spcPts val="500"/>
              </a:spcBef>
              <a:buFont typeface="Arial" panose="020B0604020202020204" pitchFamily="34" charset="0"/>
              <a:buChar char="•"/>
              <a:defRPr sz="1200" kern="1200">
                <a:solidFill>
                  <a:schemeClr val="bg1"/>
                </a:solidFill>
                <a:latin typeface="+mn-lt"/>
                <a:ea typeface="+mn-ea"/>
                <a:cs typeface="+mn-cs"/>
              </a:defRPr>
            </a:lvl4pPr>
            <a:lvl5pPr marL="541338" indent="-182563" algn="l" defTabSz="914400" rtl="0" eaLnBrk="1" latinLnBrk="0" hangingPunct="1">
              <a:lnSpc>
                <a:spcPct val="10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ts val="1000"/>
              </a:lnSpc>
              <a:spcBef>
                <a:spcPts val="500"/>
              </a:spcBef>
              <a:spcAft>
                <a:spcPts val="0"/>
              </a:spcAft>
              <a:buClrTx/>
              <a:buSzTx/>
              <a:buFont typeface="Arial" panose="020B0604020202020204" pitchFamily="34" charset="0"/>
              <a:buNone/>
              <a:tabLst/>
              <a:defRPr/>
            </a:pPr>
            <a:r>
              <a:rPr kumimoji="0" lang="en-US" sz="1000" b="1" i="0" u="none" strike="noStrike" kern="900" cap="none" spc="0" normalizeH="0" baseline="0" noProof="0">
                <a:ln>
                  <a:noFill/>
                </a:ln>
                <a:solidFill>
                  <a:srgbClr val="FFFFFF"/>
                </a:solidFill>
                <a:effectLst/>
                <a:uLnTx/>
                <a:uFillTx/>
                <a:latin typeface="GT Ultra Lloyds Light" pitchFamily="2" charset="0"/>
                <a:ea typeface="+mn-ea"/>
                <a:cs typeface="+mn-cs"/>
              </a:rPr>
              <a:t>Additional Validation </a:t>
            </a:r>
            <a:r>
              <a:rPr kumimoji="0" lang="en-US" sz="1000" b="1" i="1" u="none" strike="noStrike" kern="900" cap="none" spc="0" normalizeH="0" baseline="0" noProof="0">
                <a:ln>
                  <a:noFill/>
                </a:ln>
                <a:solidFill>
                  <a:srgbClr val="FFFFFF"/>
                </a:solidFill>
                <a:effectLst/>
                <a:uLnTx/>
                <a:uFillTx/>
                <a:latin typeface="GT Ultra Lloyds Light" pitchFamily="2" charset="0"/>
                <a:ea typeface="+mn-ea"/>
                <a:cs typeface="+mn-cs"/>
              </a:rPr>
              <a:t>may be </a:t>
            </a:r>
            <a:r>
              <a:rPr kumimoji="0" lang="en-US" sz="1000" b="1" i="1" u="none" strike="noStrike" kern="900" cap="none" spc="0" normalizeH="0" baseline="30000" noProof="0">
                <a:ln>
                  <a:noFill/>
                </a:ln>
                <a:solidFill>
                  <a:srgbClr val="FFFFFF"/>
                </a:solidFill>
                <a:effectLst/>
                <a:uLnTx/>
                <a:uFillTx/>
                <a:latin typeface="GT Ultra Lloyds Light" pitchFamily="2" charset="0"/>
                <a:ea typeface="+mn-ea"/>
                <a:cs typeface="+mn-cs"/>
              </a:rPr>
              <a:t>1</a:t>
            </a:r>
            <a:r>
              <a:rPr kumimoji="0" lang="en-US" sz="1000" b="1" i="1" u="none" strike="noStrike" kern="900" cap="none" spc="0" normalizeH="0" baseline="0" noProof="0">
                <a:ln>
                  <a:noFill/>
                </a:ln>
                <a:solidFill>
                  <a:srgbClr val="FFFFFF"/>
                </a:solidFill>
                <a:effectLst/>
                <a:uLnTx/>
                <a:uFillTx/>
                <a:latin typeface="GT Ultra Lloyds Light" pitchFamily="2" charset="0"/>
                <a:ea typeface="+mn-ea"/>
                <a:cs typeface="+mn-cs"/>
              </a:rPr>
              <a:t>  </a:t>
            </a:r>
            <a:r>
              <a:rPr kumimoji="0" lang="en-US" sz="1000" b="1" i="0" u="none" strike="noStrike" kern="900" cap="none" spc="0" normalizeH="0" baseline="0" noProof="0">
                <a:ln>
                  <a:noFill/>
                </a:ln>
                <a:solidFill>
                  <a:srgbClr val="FFFFFF"/>
                </a:solidFill>
                <a:effectLst/>
                <a:uLnTx/>
                <a:uFillTx/>
                <a:latin typeface="GT Ultra Lloyds Light" pitchFamily="2" charset="0"/>
                <a:ea typeface="+mn-ea"/>
                <a:cs typeface="+mn-cs"/>
              </a:rPr>
              <a:t>required in journey</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Not looking for advice</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lang="en-GB" sz="1000" b="0" kern="900">
                <a:solidFill>
                  <a:srgbClr val="FFFFFF"/>
                </a:solidFill>
                <a:latin typeface="GT Ultra Lloyds Light" pitchFamily="2" charset="0"/>
              </a:rPr>
              <a:t>Financial goals (e.g. house, retirement), risk tolerance, time horizon and current financial situation could be captured to help refine messaging and support </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Has unused ISA allowance</a:t>
            </a:r>
          </a:p>
          <a:p>
            <a:pPr marL="228600" marR="0" lvl="0" indent="-108000" algn="l" defTabSz="914400" rtl="0" eaLnBrk="1" fontAlgn="auto" latinLnBrk="0" hangingPunct="1">
              <a:lnSpc>
                <a:spcPts val="1000"/>
              </a:lnSpc>
              <a:spcBef>
                <a:spcPts val="600"/>
              </a:spcBef>
              <a:spcAft>
                <a:spcPts val="0"/>
              </a:spcAft>
              <a:buClrTx/>
              <a:buSzTx/>
              <a:buFont typeface="Arial" panose="020B0604020202020204" pitchFamily="34" charset="0"/>
              <a:buChar char="•"/>
              <a:tabLst/>
              <a:defRPr/>
            </a:pPr>
            <a:r>
              <a:rPr kumimoji="0" lang="en-GB" sz="1000" b="0" i="0" u="none" strike="noStrike" kern="900" cap="none" spc="0" normalizeH="0" baseline="0" noProof="0">
                <a:ln>
                  <a:noFill/>
                </a:ln>
                <a:solidFill>
                  <a:srgbClr val="FFFFFF"/>
                </a:solidFill>
                <a:effectLst/>
                <a:uLnTx/>
                <a:uFillTx/>
                <a:latin typeface="GT Ultra Lloyds Light" pitchFamily="2" charset="0"/>
                <a:ea typeface="+mn-ea"/>
                <a:cs typeface="+mn-cs"/>
              </a:rPr>
              <a:t>Not anticipating any major changes – health, financial, planned spending</a:t>
            </a:r>
          </a:p>
        </p:txBody>
      </p:sp>
      <p:sp>
        <p:nvSpPr>
          <p:cNvPr id="18" name="TextBox 17">
            <a:extLst>
              <a:ext uri="{FF2B5EF4-FFF2-40B4-BE49-F238E27FC236}">
                <a16:creationId xmlns:a16="http://schemas.microsoft.com/office/drawing/2014/main" id="{C6A9A63A-8DE9-F29A-358F-289B97C0ADE9}"/>
              </a:ext>
            </a:extLst>
          </p:cNvPr>
          <p:cNvSpPr txBox="1"/>
          <p:nvPr/>
        </p:nvSpPr>
        <p:spPr>
          <a:xfrm>
            <a:off x="3944431" y="1006667"/>
            <a:ext cx="38299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Customer Segmentation</a:t>
            </a:r>
          </a:p>
        </p:txBody>
      </p:sp>
      <p:sp>
        <p:nvSpPr>
          <p:cNvPr id="19" name="TextBox 18">
            <a:extLst>
              <a:ext uri="{FF2B5EF4-FFF2-40B4-BE49-F238E27FC236}">
                <a16:creationId xmlns:a16="http://schemas.microsoft.com/office/drawing/2014/main" id="{34071CC2-2653-8F2F-977A-321520C955B0}"/>
              </a:ext>
            </a:extLst>
          </p:cNvPr>
          <p:cNvSpPr txBox="1"/>
          <p:nvPr/>
        </p:nvSpPr>
        <p:spPr>
          <a:xfrm>
            <a:off x="7113153" y="1042207"/>
            <a:ext cx="259933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GT Ultra Lloyds Light" pitchFamily="50" charset="0"/>
                <a:ea typeface="+mn-ea"/>
                <a:cs typeface="+mn-cs"/>
              </a:rPr>
              <a:t>Ready Made Suggestion</a:t>
            </a:r>
          </a:p>
        </p:txBody>
      </p:sp>
      <p:pic>
        <p:nvPicPr>
          <p:cNvPr id="21" name="Picture 20">
            <a:extLst>
              <a:ext uri="{FF2B5EF4-FFF2-40B4-BE49-F238E27FC236}">
                <a16:creationId xmlns:a16="http://schemas.microsoft.com/office/drawing/2014/main" id="{AB7CD22E-A8CF-7DDF-FF56-DC53ABBBFF48}"/>
              </a:ext>
            </a:extLst>
          </p:cNvPr>
          <p:cNvPicPr>
            <a:picLocks noChangeAspect="1"/>
          </p:cNvPicPr>
          <p:nvPr/>
        </p:nvPicPr>
        <p:blipFill>
          <a:blip r:embed="rId5"/>
          <a:stretch>
            <a:fillRect/>
          </a:stretch>
        </p:blipFill>
        <p:spPr>
          <a:xfrm>
            <a:off x="9969346" y="503815"/>
            <a:ext cx="1986743" cy="1474775"/>
          </a:xfrm>
          <a:prstGeom prst="rect">
            <a:avLst/>
          </a:prstGeom>
        </p:spPr>
      </p:pic>
      <p:pic>
        <p:nvPicPr>
          <p:cNvPr id="23" name="Picture 22">
            <a:extLst>
              <a:ext uri="{FF2B5EF4-FFF2-40B4-BE49-F238E27FC236}">
                <a16:creationId xmlns:a16="http://schemas.microsoft.com/office/drawing/2014/main" id="{59C78FA4-70E6-A7D3-FF3B-BFF92F654471}"/>
              </a:ext>
            </a:extLst>
          </p:cNvPr>
          <p:cNvPicPr>
            <a:picLocks noChangeAspect="1"/>
          </p:cNvPicPr>
          <p:nvPr/>
        </p:nvPicPr>
        <p:blipFill>
          <a:blip r:embed="rId6"/>
          <a:stretch>
            <a:fillRect/>
          </a:stretch>
        </p:blipFill>
        <p:spPr>
          <a:xfrm>
            <a:off x="9940213" y="2100668"/>
            <a:ext cx="1996619" cy="1474775"/>
          </a:xfrm>
          <a:prstGeom prst="rect">
            <a:avLst/>
          </a:prstGeom>
        </p:spPr>
      </p:pic>
      <p:pic>
        <p:nvPicPr>
          <p:cNvPr id="25" name="Picture 24">
            <a:extLst>
              <a:ext uri="{FF2B5EF4-FFF2-40B4-BE49-F238E27FC236}">
                <a16:creationId xmlns:a16="http://schemas.microsoft.com/office/drawing/2014/main" id="{06B1292D-2C92-19D0-C8ED-2CBF8772BC74}"/>
              </a:ext>
            </a:extLst>
          </p:cNvPr>
          <p:cNvPicPr>
            <a:picLocks noChangeAspect="1"/>
          </p:cNvPicPr>
          <p:nvPr/>
        </p:nvPicPr>
        <p:blipFill>
          <a:blip r:embed="rId7"/>
          <a:stretch>
            <a:fillRect/>
          </a:stretch>
        </p:blipFill>
        <p:spPr>
          <a:xfrm>
            <a:off x="9940214" y="3699597"/>
            <a:ext cx="2069465" cy="1479284"/>
          </a:xfrm>
          <a:prstGeom prst="rect">
            <a:avLst/>
          </a:prstGeom>
        </p:spPr>
      </p:pic>
      <p:pic>
        <p:nvPicPr>
          <p:cNvPr id="27" name="Picture 26">
            <a:extLst>
              <a:ext uri="{FF2B5EF4-FFF2-40B4-BE49-F238E27FC236}">
                <a16:creationId xmlns:a16="http://schemas.microsoft.com/office/drawing/2014/main" id="{B0EAF3C4-B146-5BEA-1CBF-D33FFBF67643}"/>
              </a:ext>
            </a:extLst>
          </p:cNvPr>
          <p:cNvPicPr>
            <a:picLocks noChangeAspect="1"/>
          </p:cNvPicPr>
          <p:nvPr/>
        </p:nvPicPr>
        <p:blipFill>
          <a:blip r:embed="rId8"/>
          <a:stretch>
            <a:fillRect/>
          </a:stretch>
        </p:blipFill>
        <p:spPr>
          <a:xfrm>
            <a:off x="9969346" y="5277127"/>
            <a:ext cx="2015875" cy="1511906"/>
          </a:xfrm>
          <a:prstGeom prst="rect">
            <a:avLst/>
          </a:prstGeom>
        </p:spPr>
      </p:pic>
      <p:sp>
        <p:nvSpPr>
          <p:cNvPr id="29" name="TextBox 28">
            <a:extLst>
              <a:ext uri="{FF2B5EF4-FFF2-40B4-BE49-F238E27FC236}">
                <a16:creationId xmlns:a16="http://schemas.microsoft.com/office/drawing/2014/main" id="{553EBC65-B9C7-4170-9D84-FEFFF651002E}"/>
              </a:ext>
            </a:extLst>
          </p:cNvPr>
          <p:cNvSpPr txBox="1"/>
          <p:nvPr/>
        </p:nvSpPr>
        <p:spPr>
          <a:xfrm>
            <a:off x="1014031" y="2135305"/>
            <a:ext cx="24029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GT Ultra Lloyds Light" pitchFamily="50" charset="0"/>
                <a:ea typeface="+mn-ea"/>
                <a:cs typeface="+mn-cs"/>
              </a:rPr>
              <a:t>Misaligned Investor</a:t>
            </a:r>
          </a:p>
        </p:txBody>
      </p:sp>
      <p:sp>
        <p:nvSpPr>
          <p:cNvPr id="30" name="TextBox 29">
            <a:extLst>
              <a:ext uri="{FF2B5EF4-FFF2-40B4-BE49-F238E27FC236}">
                <a16:creationId xmlns:a16="http://schemas.microsoft.com/office/drawing/2014/main" id="{72BE3A32-72F4-BF8B-269F-21FE6E4454EA}"/>
              </a:ext>
            </a:extLst>
          </p:cNvPr>
          <p:cNvSpPr txBox="1"/>
          <p:nvPr/>
        </p:nvSpPr>
        <p:spPr>
          <a:xfrm>
            <a:off x="3639470" y="1297846"/>
            <a:ext cx="35368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GT Ultra Lloyds Light" pitchFamily="50" charset="0"/>
                <a:ea typeface="+mn-ea"/>
                <a:cs typeface="+mn-cs"/>
              </a:rPr>
              <a:t>FCA policy rules due in Dec’25 assumptions align to target market criteria and align with consumer duty</a:t>
            </a:r>
          </a:p>
        </p:txBody>
      </p:sp>
      <p:sp>
        <p:nvSpPr>
          <p:cNvPr id="31" name="TextBox 30">
            <a:extLst>
              <a:ext uri="{FF2B5EF4-FFF2-40B4-BE49-F238E27FC236}">
                <a16:creationId xmlns:a16="http://schemas.microsoft.com/office/drawing/2014/main" id="{FD22C369-71B2-3778-DB69-46E543491BB9}"/>
              </a:ext>
            </a:extLst>
          </p:cNvPr>
          <p:cNvSpPr txBox="1"/>
          <p:nvPr/>
        </p:nvSpPr>
        <p:spPr>
          <a:xfrm>
            <a:off x="180205" y="1307679"/>
            <a:ext cx="35368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Where can we improve customer outcomes?</a:t>
            </a:r>
          </a:p>
        </p:txBody>
      </p:sp>
      <p:sp>
        <p:nvSpPr>
          <p:cNvPr id="32" name="TextBox 31">
            <a:extLst>
              <a:ext uri="{FF2B5EF4-FFF2-40B4-BE49-F238E27FC236}">
                <a16:creationId xmlns:a16="http://schemas.microsoft.com/office/drawing/2014/main" id="{0A1436B2-6C07-E1D3-FAD7-C486A0B171E5}"/>
              </a:ext>
            </a:extLst>
          </p:cNvPr>
          <p:cNvSpPr txBox="1"/>
          <p:nvPr/>
        </p:nvSpPr>
        <p:spPr>
          <a:xfrm>
            <a:off x="7126773" y="1366390"/>
            <a:ext cx="35368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GT Ultra Lloyds Light" pitchFamily="50" charset="0"/>
                <a:ea typeface="+mn-ea"/>
                <a:cs typeface="+mn-cs"/>
              </a:rPr>
              <a:t>Must be the same for each cohort</a:t>
            </a:r>
          </a:p>
        </p:txBody>
      </p:sp>
      <p:sp>
        <p:nvSpPr>
          <p:cNvPr id="37" name="TextBox 36">
            <a:extLst>
              <a:ext uri="{FF2B5EF4-FFF2-40B4-BE49-F238E27FC236}">
                <a16:creationId xmlns:a16="http://schemas.microsoft.com/office/drawing/2014/main" id="{5EC4FBFE-144A-BF2A-860E-E3E8739FA879}"/>
              </a:ext>
            </a:extLst>
          </p:cNvPr>
          <p:cNvSpPr txBox="1"/>
          <p:nvPr/>
        </p:nvSpPr>
        <p:spPr>
          <a:xfrm>
            <a:off x="288609" y="5842933"/>
            <a:ext cx="232540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GT Ultra Lloyds Light" pitchFamily="50" charset="0"/>
                <a:ea typeface="+mn-ea"/>
                <a:cs typeface="+mn-cs"/>
              </a:rPr>
              <a:t>The customer has already made the first step in investing but has an overly large risk exposure.</a:t>
            </a:r>
          </a:p>
        </p:txBody>
      </p:sp>
      <p:sp>
        <p:nvSpPr>
          <p:cNvPr id="40" name="Rectangle: Rounded Corners 39">
            <a:extLst>
              <a:ext uri="{FF2B5EF4-FFF2-40B4-BE49-F238E27FC236}">
                <a16:creationId xmlns:a16="http://schemas.microsoft.com/office/drawing/2014/main" id="{75BFC29A-2140-DCB8-7963-47784B215ED7}"/>
              </a:ext>
            </a:extLst>
          </p:cNvPr>
          <p:cNvSpPr/>
          <p:nvPr/>
        </p:nvSpPr>
        <p:spPr>
          <a:xfrm>
            <a:off x="3431451" y="3812338"/>
            <a:ext cx="3759313" cy="114185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GT Ultra Lloyds Light" pitchFamily="50" charset="0"/>
                <a:ea typeface="+mn-ea"/>
                <a:cs typeface="+mn-cs"/>
              </a:rPr>
              <a:t>For P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Not needing access before Normal Retirement A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Not in draw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Calibri"/>
                <a:ea typeface="+mn-ea"/>
                <a:cs typeface="+mn-cs"/>
              </a:rPr>
              <a:t>Consideration to workplace availability</a:t>
            </a:r>
          </a:p>
        </p:txBody>
      </p:sp>
      <p:sp>
        <p:nvSpPr>
          <p:cNvPr id="43" name="Rectangle: Rounded Corners 42">
            <a:extLst>
              <a:ext uri="{FF2B5EF4-FFF2-40B4-BE49-F238E27FC236}">
                <a16:creationId xmlns:a16="http://schemas.microsoft.com/office/drawing/2014/main" id="{114DD7D2-4BD6-128D-5700-F68AF3CEDA7B}"/>
              </a:ext>
            </a:extLst>
          </p:cNvPr>
          <p:cNvSpPr/>
          <p:nvPr/>
        </p:nvSpPr>
        <p:spPr>
          <a:xfrm>
            <a:off x="68130" y="1921180"/>
            <a:ext cx="2732670" cy="170974"/>
          </a:xfrm>
          <a:prstGeom prst="roundRect">
            <a:avLst>
              <a:gd name="adj" fmla="val 50000"/>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prstClr val="black"/>
                </a:solidFill>
                <a:latin typeface="GT Ultra Lloyds Regular"/>
              </a:rPr>
              <a:t>D2C</a:t>
            </a:r>
            <a:r>
              <a:rPr kumimoji="0" lang="en-GB" sz="1200" b="0" i="0" u="none" strike="noStrike" kern="1200" cap="none" spc="0" normalizeH="0" baseline="0" noProof="0">
                <a:ln>
                  <a:noFill/>
                </a:ln>
                <a:solidFill>
                  <a:prstClr val="black"/>
                </a:solidFill>
                <a:effectLst/>
                <a:uLnTx/>
                <a:uFillTx/>
                <a:latin typeface="GT Ultra Lloyds Regular"/>
                <a:ea typeface="+mn-ea"/>
                <a:cs typeface="+mn-cs"/>
              </a:rPr>
              <a:t> Investments focus area</a:t>
            </a:r>
          </a:p>
        </p:txBody>
      </p:sp>
      <p:pic>
        <p:nvPicPr>
          <p:cNvPr id="9" name="Picture 8">
            <a:extLst>
              <a:ext uri="{FF2B5EF4-FFF2-40B4-BE49-F238E27FC236}">
                <a16:creationId xmlns:a16="http://schemas.microsoft.com/office/drawing/2014/main" id="{1E28EBE8-380A-D969-BD87-33B915547AD6}"/>
              </a:ext>
            </a:extLst>
          </p:cNvPr>
          <p:cNvPicPr>
            <a:picLocks noChangeAspect="1"/>
          </p:cNvPicPr>
          <p:nvPr/>
        </p:nvPicPr>
        <p:blipFill>
          <a:blip r:embed="rId9"/>
          <a:stretch>
            <a:fillRect/>
          </a:stretch>
        </p:blipFill>
        <p:spPr>
          <a:xfrm>
            <a:off x="345163" y="2682058"/>
            <a:ext cx="2219635" cy="1857634"/>
          </a:xfrm>
          <a:prstGeom prst="rect">
            <a:avLst/>
          </a:prstGeom>
        </p:spPr>
      </p:pic>
      <p:sp>
        <p:nvSpPr>
          <p:cNvPr id="10" name="Speech Bubble: Rectangle with Corners Rounded 9">
            <a:extLst>
              <a:ext uri="{FF2B5EF4-FFF2-40B4-BE49-F238E27FC236}">
                <a16:creationId xmlns:a16="http://schemas.microsoft.com/office/drawing/2014/main" id="{BFC98EEE-80AC-89C7-879F-8AA11AD67F16}"/>
              </a:ext>
            </a:extLst>
          </p:cNvPr>
          <p:cNvSpPr/>
          <p:nvPr/>
        </p:nvSpPr>
        <p:spPr>
          <a:xfrm>
            <a:off x="2193240" y="2512172"/>
            <a:ext cx="1145872" cy="665510"/>
          </a:xfrm>
          <a:prstGeom prst="wedgeRoundRectCallout">
            <a:avLst>
              <a:gd name="adj1" fmla="val -52926"/>
              <a:gd name="adj2" fmla="val 63670"/>
              <a:gd name="adj3" fmla="val 16667"/>
            </a:avLst>
          </a:prstGeom>
          <a:ln w="635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GT Ultra Lloyds Light" pitchFamily="50" charset="0"/>
                <a:ea typeface="+mn-ea"/>
                <a:cs typeface="+mn-cs"/>
              </a:rPr>
              <a:t>I don’t know where to invest next</a:t>
            </a:r>
          </a:p>
        </p:txBody>
      </p:sp>
    </p:spTree>
    <p:extLst>
      <p:ext uri="{BB962C8B-B14F-4D97-AF65-F5344CB8AC3E}">
        <p14:creationId xmlns:p14="http://schemas.microsoft.com/office/powerpoint/2010/main" val="3868201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6_VCvV7YbumlILz7PLNkj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6_VCvV7YbumlILz7PLNkj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Lloyds - Core Template - Light">
  <a:themeElements>
    <a:clrScheme name="Custom 144">
      <a:dk1>
        <a:sysClr val="windowText" lastClr="000000"/>
      </a:dk1>
      <a:lt1>
        <a:sysClr val="window" lastClr="FFFFFF"/>
      </a:lt1>
      <a:dk2>
        <a:srgbClr val="323233"/>
      </a:dk2>
      <a:lt2>
        <a:srgbClr val="F1F1F1"/>
      </a:lt2>
      <a:accent1>
        <a:srgbClr val="00855D"/>
      </a:accent1>
      <a:accent2>
        <a:srgbClr val="6B41EA"/>
      </a:accent2>
      <a:accent3>
        <a:srgbClr val="F15037"/>
      </a:accent3>
      <a:accent4>
        <a:srgbClr val="1467B5"/>
      </a:accent4>
      <a:accent5>
        <a:srgbClr val="C435B8"/>
      </a:accent5>
      <a:accent6>
        <a:srgbClr val="024731"/>
      </a:accent6>
      <a:hlink>
        <a:srgbClr val="000000"/>
      </a:hlink>
      <a:folHlink>
        <a:srgbClr val="000000"/>
      </a:folHlink>
    </a:clrScheme>
    <a:fontScheme name="Custom 106">
      <a:majorFont>
        <a:latin typeface="GT Ultra Median Lloyds Black"/>
        <a:ea typeface=""/>
        <a:cs typeface=""/>
      </a:majorFont>
      <a:minorFont>
        <a:latin typeface="GT Ultra Lloyds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latin typeface="+mn-lt"/>
          </a:defRPr>
        </a:defPPr>
      </a:lstStyle>
    </a:txDef>
  </a:objectDefaults>
  <a:extraClrSchemeLst/>
  <a:custClrLst>
    <a:custClr name="Autumn Orange">
      <a:srgbClr val="FFB16A"/>
    </a:custClr>
    <a:custClr name="Spring Yellow">
      <a:srgbClr val="DEE159"/>
    </a:custClr>
    <a:custClr name="Cloud Blue">
      <a:srgbClr val="A3BBCF"/>
    </a:custClr>
    <a:custClr name="Lavender">
      <a:srgbClr val="A19FFF"/>
    </a:custClr>
    <a:custClr name="Mist Blue">
      <a:srgbClr val="9DE7DE"/>
    </a:custClr>
    <a:custClr name="Meadow Pink">
      <a:srgbClr val="F5B2F2"/>
    </a:custClr>
    <a:custClr name="Grey">
      <a:srgbClr val="F1F1F1"/>
    </a:custClr>
    <a:custClr name="White">
      <a:srgbClr val="C9C9C9"/>
    </a:custClr>
    <a:custClr name="Charcoal">
      <a:srgbClr val="323233"/>
    </a:custClr>
    <a:custClr name="Black">
      <a:srgbClr val="000000"/>
    </a:custClr>
    <a:custClr name="Racing Green">
      <a:srgbClr val="024731"/>
    </a:custClr>
    <a:custClr name="Heritage Green">
      <a:srgbClr val="006A4D"/>
    </a:custClr>
    <a:custClr name="Everyday Green">
      <a:srgbClr val="11B67A"/>
    </a:custClr>
    <a:custClr name="Vibrant Green">
      <a:srgbClr val="6CF479"/>
    </a:custClr>
    <a:custClr name="Calm Green">
      <a:srgbClr val="C7FFC6"/>
    </a:custClr>
  </a:custClrLst>
  <a:extLst>
    <a:ext uri="{05A4C25C-085E-4340-85A3-A5531E510DB2}">
      <thm15:themeFamily xmlns:thm15="http://schemas.microsoft.com/office/thememl/2012/main" name="Lloyds Banking Group_PowerPoint Template_02.25.potx" id="{5CE8E567-DA94-4933-AC13-2F97C63D1996}" vid="{D7AF224F-11A8-4B4D-AA00-E249A552662F}"/>
    </a:ext>
  </a:extLst>
</a:theme>
</file>

<file path=ppt/theme/theme3.xml><?xml version="1.0" encoding="utf-8"?>
<a:theme xmlns:a="http://schemas.openxmlformats.org/drawingml/2006/main" name="Lloyds-Bank-Reimagined">
  <a:themeElements>
    <a:clrScheme name="Office">
      <a:dk1>
        <a:srgbClr val="000000"/>
      </a:dk1>
      <a:lt1>
        <a:srgbClr val="FFFFFF"/>
      </a:lt1>
      <a:dk2>
        <a:srgbClr val="006A4D"/>
      </a:dk2>
      <a:lt2>
        <a:srgbClr val="024731"/>
      </a:lt2>
      <a:accent1>
        <a:srgbClr val="11B67A"/>
      </a:accent1>
      <a:accent2>
        <a:srgbClr val="6CF479"/>
      </a:accent2>
      <a:accent3>
        <a:srgbClr val="C7FFC6"/>
      </a:accent3>
      <a:accent4>
        <a:srgbClr val="0BE248"/>
      </a:accent4>
      <a:accent5>
        <a:srgbClr val="FFB16A"/>
      </a:accent5>
      <a:accent6>
        <a:srgbClr val="DEE159"/>
      </a:accent6>
      <a:hlink>
        <a:srgbClr val="A3BBCF"/>
      </a:hlink>
      <a:folHlink>
        <a:srgbClr val="A19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Lloyds - Core Template - Light">
  <a:themeElements>
    <a:clrScheme name="Custom 144">
      <a:dk1>
        <a:sysClr val="windowText" lastClr="000000"/>
      </a:dk1>
      <a:lt1>
        <a:sysClr val="window" lastClr="FFFFFF"/>
      </a:lt1>
      <a:dk2>
        <a:srgbClr val="323233"/>
      </a:dk2>
      <a:lt2>
        <a:srgbClr val="F1F1F1"/>
      </a:lt2>
      <a:accent1>
        <a:srgbClr val="00855D"/>
      </a:accent1>
      <a:accent2>
        <a:srgbClr val="6B41EA"/>
      </a:accent2>
      <a:accent3>
        <a:srgbClr val="F15037"/>
      </a:accent3>
      <a:accent4>
        <a:srgbClr val="1467B5"/>
      </a:accent4>
      <a:accent5>
        <a:srgbClr val="C435B8"/>
      </a:accent5>
      <a:accent6>
        <a:srgbClr val="024731"/>
      </a:accent6>
      <a:hlink>
        <a:srgbClr val="000000"/>
      </a:hlink>
      <a:folHlink>
        <a:srgbClr val="000000"/>
      </a:folHlink>
    </a:clrScheme>
    <a:fontScheme name="Custom 106">
      <a:majorFont>
        <a:latin typeface="GT Ultra Median Lloyds Black"/>
        <a:ea typeface=""/>
        <a:cs typeface=""/>
      </a:majorFont>
      <a:minorFont>
        <a:latin typeface="GT Ultra Lloyds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a:spAutoFit/>
      </a:bodyPr>
      <a:lstStyle>
        <a:defPPr algn="l">
          <a:defRPr dirty="0">
            <a:latin typeface="+mn-lt"/>
          </a:defRPr>
        </a:defPPr>
      </a:lstStyle>
    </a:txDef>
  </a:objectDefaults>
  <a:extraClrSchemeLst/>
  <a:custClrLst>
    <a:custClr name="Autumn Orange">
      <a:srgbClr val="FFB16A"/>
    </a:custClr>
    <a:custClr name="Spring Yellow">
      <a:srgbClr val="DEE159"/>
    </a:custClr>
    <a:custClr name="Cloud Blue">
      <a:srgbClr val="A3BBCF"/>
    </a:custClr>
    <a:custClr name="Lavender">
      <a:srgbClr val="A19FFF"/>
    </a:custClr>
    <a:custClr name="Mist Blue">
      <a:srgbClr val="9DE7DE"/>
    </a:custClr>
    <a:custClr name="Meadow Pink">
      <a:srgbClr val="F5B2F2"/>
    </a:custClr>
    <a:custClr name="Grey">
      <a:srgbClr val="F1F1F1"/>
    </a:custClr>
    <a:custClr name="White">
      <a:srgbClr val="C9C9C9"/>
    </a:custClr>
    <a:custClr name="Charcoal">
      <a:srgbClr val="323233"/>
    </a:custClr>
    <a:custClr name="Black">
      <a:srgbClr val="000000"/>
    </a:custClr>
    <a:custClr name="Racing Green">
      <a:srgbClr val="024731"/>
    </a:custClr>
    <a:custClr name="Heritage Green">
      <a:srgbClr val="006A4D"/>
    </a:custClr>
    <a:custClr name="Everyday Green">
      <a:srgbClr val="11B67A"/>
    </a:custClr>
    <a:custClr name="Vibrant Green">
      <a:srgbClr val="6CF479"/>
    </a:custClr>
    <a:custClr name="Calm Green">
      <a:srgbClr val="C7FFC6"/>
    </a:custClr>
  </a:custClrLst>
  <a:extLst>
    <a:ext uri="{05A4C25C-085E-4340-85A3-A5531E510DB2}">
      <thm15:themeFamily xmlns:thm15="http://schemas.microsoft.com/office/thememl/2012/main" name="Lloyds Banking Group_PowerPoint Template_02.25.potx" id="{5CE8E567-DA94-4933-AC13-2F97C63D1996}" vid="{D7AF224F-11A8-4B4D-AA00-E249A552662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D061792671CED4498A473A74009F3CE" ma:contentTypeVersion="17" ma:contentTypeDescription="Create a new document." ma:contentTypeScope="" ma:versionID="9c5ed416050bc93a9d3361b1f41b0660">
  <xsd:schema xmlns:xsd="http://www.w3.org/2001/XMLSchema" xmlns:xs="http://www.w3.org/2001/XMLSchema" xmlns:p="http://schemas.microsoft.com/office/2006/metadata/properties" xmlns:ns1="http://schemas.microsoft.com/sharepoint/v3" xmlns:ns2="1ade3efb-00bd-4d2f-961c-491c1d85d402" xmlns:ns3="0bc66e56-89fb-4e64-a58c-11f3b0c0085a" targetNamespace="http://schemas.microsoft.com/office/2006/metadata/properties" ma:root="true" ma:fieldsID="a1db2df516b0f267736aca33a9a5fa9d" ns1:_="" ns2:_="" ns3:_="">
    <xsd:import namespace="http://schemas.microsoft.com/sharepoint/v3"/>
    <xsd:import namespace="1ade3efb-00bd-4d2f-961c-491c1d85d402"/>
    <xsd:import namespace="0bc66e56-89fb-4e64-a58c-11f3b0c0085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de3efb-00bd-4d2f-961c-491c1d85d4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ee4fd0a-b474-4a32-a144-dd33b0783374"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bc66e56-89fb-4e64-a58c-11f3b0c0085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60df5fb-0573-47a3-9aed-d7abcb51fbc8}" ma:internalName="TaxCatchAll" ma:showField="CatchAllData" ma:web="0bc66e56-89fb-4e64-a58c-11f3b0c008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0bc66e56-89fb-4e64-a58c-11f3b0c0085a" xsi:nil="true"/>
    <_ip_UnifiedCompliancePolicyProperties xmlns="http://schemas.microsoft.com/sharepoint/v3" xsi:nil="true"/>
    <lcf76f155ced4ddcb4097134ff3c332f xmlns="1ade3efb-00bd-4d2f-961c-491c1d85d40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58A2A19-AB35-4780-8E8A-31B5C25ADB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de3efb-00bd-4d2f-961c-491c1d85d402"/>
    <ds:schemaRef ds:uri="0bc66e56-89fb-4e64-a58c-11f3b0c008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BFB2C3-B318-4F3B-A020-76128C3A951B}">
  <ds:schemaRefs>
    <ds:schemaRef ds:uri="http://schemas.microsoft.com/sharepoint/v3/contenttype/forms"/>
  </ds:schemaRefs>
</ds:datastoreItem>
</file>

<file path=customXml/itemProps3.xml><?xml version="1.0" encoding="utf-8"?>
<ds:datastoreItem xmlns:ds="http://schemas.openxmlformats.org/officeDocument/2006/customXml" ds:itemID="{908AA30B-C829-4E40-8E37-0121759ADF08}">
  <ds:schemaRefs>
    <ds:schemaRef ds:uri="1ade3efb-00bd-4d2f-961c-491c1d85d402"/>
    <ds:schemaRef ds:uri="0bc66e56-89fb-4e64-a58c-11f3b0c0085a"/>
    <ds:schemaRef ds:uri="http://schemas.microsoft.com/office/2006/documentManagement/types"/>
    <ds:schemaRef ds:uri="http://purl.org/dc/terms/"/>
    <ds:schemaRef ds:uri="http://schemas.microsoft.com/sharepoint/v3"/>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Metadata/LabelInfo.xml><?xml version="1.0" encoding="utf-8"?>
<clbl:labelList xmlns:clbl="http://schemas.microsoft.com/office/2020/mipLabelMetadata">
  <clbl:label id="{7bc792f8-6d75-423a-9981-629281829092}"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otalTime>808</TotalTime>
  <Words>1526</Words>
  <Application>Microsoft Office PowerPoint</Application>
  <PresentationFormat>Widescreen</PresentationFormat>
  <Paragraphs>282</Paragraphs>
  <Slides>9</Slides>
  <Notes>6</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9" baseType="lpstr">
      <vt:lpstr>Aptos</vt:lpstr>
      <vt:lpstr>Arial</vt:lpstr>
      <vt:lpstr>Arial Unicode MS</vt:lpstr>
      <vt:lpstr>AvenirNext LT Pro Heavy</vt:lpstr>
      <vt:lpstr>Calibri</vt:lpstr>
      <vt:lpstr>GT Ultra Lloyds Light</vt:lpstr>
      <vt:lpstr>GT Ultra Lloyds Regular</vt:lpstr>
      <vt:lpstr>GT Ultra Median Lloyds Black</vt:lpstr>
      <vt:lpstr>GT Ultra Median Lloyds Regular</vt:lpstr>
      <vt:lpstr>Open Sans</vt:lpstr>
      <vt:lpstr>Poppins</vt:lpstr>
      <vt:lpstr>Poppins ExtraBold</vt:lpstr>
      <vt:lpstr>Poppins Medium</vt:lpstr>
      <vt:lpstr>Tenorite</vt:lpstr>
      <vt:lpstr>Wingdings</vt:lpstr>
      <vt:lpstr>Office Theme</vt:lpstr>
      <vt:lpstr>1_Lloyds - Core Template - Light</vt:lpstr>
      <vt:lpstr>Lloyds-Bank-Reimagined</vt:lpstr>
      <vt:lpstr>2_Lloyds - Core Template - Light</vt:lpstr>
      <vt:lpstr>think-cell Slide</vt:lpstr>
      <vt:lpstr>PowerPoint Presentation</vt:lpstr>
      <vt:lpstr>What is Targeted Support?</vt:lpstr>
      <vt:lpstr>Future Decision-Making Support Continuum </vt:lpstr>
      <vt:lpstr>Targeted Support – Building a Conversation</vt:lpstr>
      <vt:lpstr>Good and Bad Ready Made Solutions Design</vt:lpstr>
      <vt:lpstr>PowerPoint Presentation</vt:lpstr>
      <vt:lpstr>FCA Segments &amp; LBG Use Cases</vt:lpstr>
      <vt:lpstr>Targeted Support In Action – Regular Savers</vt:lpstr>
      <vt:lpstr>Targeted Support In Action – Not Diversifi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errero Bullich, Maria (Chief Customer &amp; Digital Office)</dc:creator>
  <cp:lastModifiedBy>Gilchrist, Oliver (IP&amp;I Finance)</cp:lastModifiedBy>
  <cp:revision>6</cp:revision>
  <dcterms:created xsi:type="dcterms:W3CDTF">2025-07-02T12:06:15Z</dcterms:created>
  <dcterms:modified xsi:type="dcterms:W3CDTF">2025-12-05T14:3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061792671CED4498A473A74009F3CE</vt:lpwstr>
  </property>
  <property fmtid="{D5CDD505-2E9C-101B-9397-08002B2CF9AE}" pid="3" name="MediaServiceImageTags">
    <vt:lpwstr/>
  </property>
</Properties>
</file>